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1"/>
  </p:notesMasterIdLst>
  <p:sldIdLst>
    <p:sldId id="668" r:id="rId2"/>
    <p:sldId id="680" r:id="rId3"/>
    <p:sldId id="693" r:id="rId4"/>
    <p:sldId id="692" r:id="rId5"/>
    <p:sldId id="666" r:id="rId6"/>
    <p:sldId id="681" r:id="rId7"/>
    <p:sldId id="682" r:id="rId8"/>
    <p:sldId id="687" r:id="rId9"/>
    <p:sldId id="674" r:id="rId10"/>
    <p:sldId id="676" r:id="rId11"/>
    <p:sldId id="677" r:id="rId12"/>
    <p:sldId id="689" r:id="rId13"/>
    <p:sldId id="690" r:id="rId14"/>
    <p:sldId id="683" r:id="rId15"/>
    <p:sldId id="678" r:id="rId16"/>
    <p:sldId id="572" r:id="rId17"/>
    <p:sldId id="573" r:id="rId18"/>
    <p:sldId id="564" r:id="rId19"/>
    <p:sldId id="688" r:id="rId20"/>
    <p:sldId id="567" r:id="rId21"/>
    <p:sldId id="565" r:id="rId22"/>
    <p:sldId id="566" r:id="rId23"/>
    <p:sldId id="685" r:id="rId24"/>
    <p:sldId id="259" r:id="rId25"/>
    <p:sldId id="265" r:id="rId26"/>
    <p:sldId id="559" r:id="rId27"/>
    <p:sldId id="675" r:id="rId28"/>
    <p:sldId id="691" r:id="rId29"/>
    <p:sldId id="670" r:id="rId30"/>
  </p:sldIdLst>
  <p:sldSz cx="12192000" cy="6858000"/>
  <p:notesSz cx="6858000" cy="9144000"/>
  <p:embeddedFontLs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Calibri Light" panose="020F0302020204030204" pitchFamily="34" charset="0"/>
      <p:regular r:id="rId36"/>
      <p:italic r:id="rId37"/>
    </p:embeddedFont>
    <p:embeddedFont>
      <p:font typeface="PT Sans Caption" panose="020B0604020202020204" charset="-52"/>
      <p:regular r:id="rId38"/>
      <p:bold r:id="rId39"/>
    </p:embeddedFont>
    <p:embeddedFont>
      <p:font typeface="Segoe UI" panose="020B0502040204020203" pitchFamily="34" charset="0"/>
      <p:regular r:id="rId40"/>
      <p:bold r:id="rId41"/>
      <p:italic r:id="rId42"/>
      <p:boldItalic r:id="rId43"/>
    </p:embeddedFont>
    <p:embeddedFont>
      <p:font typeface="Segoe UI Semibold" panose="020B0702040204020203" pitchFamily="34" charset="0"/>
      <p:regular r:id="rId44"/>
      <p:bold r:id="rId45"/>
      <p:italic r:id="rId46"/>
      <p:boldItalic r:id="rId47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омякова Полина" initials="ХП" lastIdx="8" clrIdx="0">
    <p:extLst>
      <p:ext uri="{19B8F6BF-5375-455C-9EA6-DF929625EA0E}">
        <p15:presenceInfo xmlns:p15="http://schemas.microsoft.com/office/powerpoint/2012/main" userId="S::p.khomyakova@crpt.ru::2205f5fc-9bdf-42f6-8e2a-328df2c338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6E71"/>
    <a:srgbClr val="FFFF00"/>
    <a:srgbClr val="A7A9AC"/>
    <a:srgbClr val="595959"/>
    <a:srgbClr val="F8F200"/>
    <a:srgbClr val="EAEA00"/>
    <a:srgbClr val="EFEB2E"/>
    <a:srgbClr val="C7C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62" autoAdjust="0"/>
    <p:restoredTop sz="94660"/>
  </p:normalViewPr>
  <p:slideViewPr>
    <p:cSldViewPr snapToGrid="0">
      <p:cViewPr varScale="1">
        <p:scale>
          <a:sx n="162" d="100"/>
          <a:sy n="162" d="100"/>
        </p:scale>
        <p:origin x="264" y="144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-2790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8.fntdata"/><Relationship Id="rId21" Type="http://schemas.openxmlformats.org/officeDocument/2006/relationships/slide" Target="slides/slide20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font" Target="fonts/font16.fntdata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font" Target="fonts/font14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5.fntdata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3.fntdata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font" Target="fonts/font15.fntdata"/><Relationship Id="rId20" Type="http://schemas.openxmlformats.org/officeDocument/2006/relationships/slide" Target="slides/slide19.xml"/><Relationship Id="rId41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49C633-B790-490D-B6B9-51E8CDDC6A85}" type="datetimeFigureOut">
              <a:rPr lang="ru-RU" smtClean="0"/>
              <a:pPr/>
              <a:t>27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0567A3-BBF3-40C3-9B0E-EE7FDE90F57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7003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7203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150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73848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 dirty="0"/>
              <a:t> </a:t>
            </a:r>
            <a:r>
              <a:rPr lang="ru-RU" dirty="0" err="1"/>
              <a:t>view</a:t>
            </a:r>
            <a:r>
              <a:rPr lang="ru-RU" dirty="0"/>
              <a:t>: </a:t>
            </a:r>
            <a:fld id="{128CEAFE-FA94-43E5-B0FF-D47E1CCDD1B4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2861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BF24B1-C550-4E63-B398-0391877BA9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F1CE374-FE3D-4EBF-A888-C58A5231BA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0E496E7-BF96-447F-AB5C-BFB656EE2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5C6BFDF-9575-421A-A54F-5312DCFF1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E6489D9-0F8F-428F-A315-D937A1F09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93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8CC319-B5AC-41CC-AE94-73856683B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04FF437-0816-4176-AB94-201C75CC7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7E83F6C-4FB1-4378-BDBA-C3B71F123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C6C14F9-689F-4C73-9FF1-69B866B52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3E8C8C-F56D-4F9F-96D4-9292299EB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6045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95036FC-7C4E-44EE-A7CA-44827DC67F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CBBC8E9-8AC7-4050-A277-931CD15AE4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FBC03BD-4E1B-4ACC-ACA3-B05434CBC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8D685FC-22DF-48D5-81DE-6BD45E0FD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EEB6D5-F6B2-4324-8AD2-9F501C6C6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0638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BC3970F-5583-41A2-A218-363495D62B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600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9" cstate="print">
            <a:alphaModFix/>
          </a:blip>
          <a:stretch>
            <a:fillRect/>
          </a:stretch>
        </p:blipFill>
        <p:spPr>
          <a:xfrm>
            <a:off x="626245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9523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268224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5790BF-A5B2-45A8-86D8-2479602CA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EDBA84-7AF9-4EF9-87A1-CDAFFD5ECB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5F1E517-E469-4B19-B54A-1694BC8C3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30B4A4D-01B5-4F55-91C1-8345939BE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A9FA999-37EF-4C8A-82B0-6D6F51B70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7487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112DE-B166-46CC-8221-EA53A7FEA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56018DB-0BE7-4A76-8516-2E1B750F1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5248F4F-3CE6-47E1-910E-892789D9A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7F5599-7B55-4750-9772-E46C136C4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4A7E4B5-FF71-45BD-B9B0-20617ADAE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61635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953B31-D623-46E7-B5C1-6562AB1C4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D1E47F2-B14E-49BB-9205-84CB8555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5BF1FC4-F804-4D62-8306-818206F1E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3EEADA3-1F64-4C66-9E91-E3CD38279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CCB8736-EDEA-4D59-817C-2D62B475B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A93E961-FAD2-48BD-837B-33197E295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3011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5FA578F-8188-4EEA-9729-EAE61D390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36884AC-AE85-4996-856C-2609C17BF6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04CD1E0-3110-4505-BE29-ABE1CFC9FF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88BF824-51BF-4401-A102-01B66C7E84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6540679A-4FB6-4EB3-B22F-A1A0935B18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DFF7F49-9685-42D3-8E95-6A09571A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CB6FDEF1-B79C-4B23-911D-C1476A360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EACA413-7C10-4E47-BBA5-DF687D356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2377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58BE9DC-5F28-4387-996F-AF3504F1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3B4DC63-EF0E-4023-9B1B-92C5AF95F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256ECF7-FD0D-4F81-8BE1-2592F6AC7C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1EF07CB-F6EA-4377-83CF-63B4A954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6750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4782213-5CDF-4ACC-A36B-2057C7931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CBF78C7D-58C7-4380-9623-0DC1344E8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35E9202-1998-4C41-A938-FE2C72A04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573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8098752-9061-452C-A2A3-71CA943CC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E57FF40-EC18-4377-B8E2-B9AB83F841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BC70760-2E21-4BD3-B53D-A9D7DF2268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3A7D132-6BD0-4549-A336-61507BF44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4B033B7-FCE7-4689-84E7-F34BF01F9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60285E3-2FC2-46CC-A1D9-10D5A421F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713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D752EF-23C5-4FBC-9649-B987599BD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451E62B-E35C-4F12-B89E-648C83B3B9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D1DA447-5104-48C0-B63F-E20D411F70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28F3018-3285-4E46-9943-0B8701C2D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CB41DFD-AEB6-4FD9-9E94-3F49910F5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B29A4B4-4BBA-4FBB-AE7E-867EB1D4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2884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EACA41-F4AD-4C9B-9AF7-F1BC517F8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7CCB4A4-BB8F-4143-B8D8-796E8BFC6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04B01A8-98DE-476A-BD69-C074FA40B4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714BA1-98D4-4A12-A432-565595167A31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D6D9EFD-92F0-446B-8993-71F5C67B7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BB4B3FD-DA78-424C-B55D-E3D3B330D3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394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openxmlformats.org/officeDocument/2006/relationships/image" Target="../media/image1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if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13" Type="http://schemas.openxmlformats.org/officeDocument/2006/relationships/image" Target="../media/image49.emf"/><Relationship Id="rId3" Type="http://schemas.openxmlformats.org/officeDocument/2006/relationships/hyperlink" Target="https://www.youtube.com/channel/UCkEJSvm2kK7Fc8nznr-oVlQ" TargetMode="External"/><Relationship Id="rId7" Type="http://schemas.openxmlformats.org/officeDocument/2006/relationships/image" Target="../media/image43.emf"/><Relationship Id="rId12" Type="http://schemas.openxmlformats.org/officeDocument/2006/relationships/image" Target="../media/image48.emf"/><Relationship Id="rId2" Type="http://schemas.openxmlformats.org/officeDocument/2006/relationships/hyperlink" Target="https://t.me/crptbreaking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www.facebook.com/crpt.ru/" TargetMode="External"/><Relationship Id="rId11" Type="http://schemas.openxmlformats.org/officeDocument/2006/relationships/image" Target="../media/image47.emf"/><Relationship Id="rId5" Type="http://schemas.openxmlformats.org/officeDocument/2006/relationships/hyperlink" Target="https://vk.com/crptec" TargetMode="External"/><Relationship Id="rId10" Type="http://schemas.openxmlformats.org/officeDocument/2006/relationships/image" Target="../media/image46.emf"/><Relationship Id="rId4" Type="http://schemas.openxmlformats.org/officeDocument/2006/relationships/hyperlink" Target="mailto:support@crpt.ru" TargetMode="External"/><Relationship Id="rId9" Type="http://schemas.openxmlformats.org/officeDocument/2006/relationships/image" Target="../media/image45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7.bin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1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12" Type="http://schemas.openxmlformats.org/officeDocument/2006/relationships/image" Target="../media/image1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6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15.xml"/><Relationship Id="rId7" Type="http://schemas.openxmlformats.org/officeDocument/2006/relationships/image" Target="../media/image1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7.jpeg"/><Relationship Id="rId4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1F88BEF-AA51-694E-9D16-3D76338F05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1088" y="9940"/>
            <a:ext cx="6640912" cy="685800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8B22E94-192A-A749-970E-8D9457565726}"/>
              </a:ext>
            </a:extLst>
          </p:cNvPr>
          <p:cNvSpPr/>
          <p:nvPr/>
        </p:nvSpPr>
        <p:spPr>
          <a:xfrm>
            <a:off x="-3857" y="18538"/>
            <a:ext cx="6096000" cy="685800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6F81AF7-D673-C64F-AC24-BC8A8161A728}"/>
              </a:ext>
            </a:extLst>
          </p:cNvPr>
          <p:cNvSpPr/>
          <p:nvPr/>
        </p:nvSpPr>
        <p:spPr>
          <a:xfrm>
            <a:off x="0" y="-9940"/>
            <a:ext cx="6095999" cy="686794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8" y="1033976"/>
            <a:ext cx="4626643" cy="25323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а обязательной</a:t>
            </a:r>
          </a:p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и</a:t>
            </a:r>
            <a:endParaRPr lang="ru-RU" sz="2800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0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лександр Долгиев</a:t>
            </a:r>
            <a:endParaRPr lang="en-US" sz="2800" dirty="0">
              <a:solidFill>
                <a:srgbClr val="6D6E71"/>
              </a:solidFill>
              <a:latin typeface="PT Sans Caption" pitchFamily="34" charset="-52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53191" y="2562165"/>
            <a:ext cx="3920995" cy="0"/>
          </a:xfrm>
          <a:prstGeom prst="line">
            <a:avLst/>
          </a:prstGeom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190" y="5015463"/>
            <a:ext cx="3920996" cy="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705508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Изображение выглядит как электроника, компьютер&#10;&#10;Автоматически созданное описание">
            <a:extLst>
              <a:ext uri="{FF2B5EF4-FFF2-40B4-BE49-F238E27FC236}">
                <a16:creationId xmlns:a16="http://schemas.microsoft.com/office/drawing/2014/main" id="{DDCD4C12-4A52-604D-BF87-FF7E38456E5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7226" y="8202"/>
            <a:ext cx="8134774" cy="6849798"/>
          </a:xfrm>
          <a:prstGeom prst="rect">
            <a:avLst/>
          </a:prstGeom>
        </p:spPr>
      </p:pic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224B69F5-483A-BA4A-9758-03B7C0AB3979}"/>
              </a:ext>
            </a:extLst>
          </p:cNvPr>
          <p:cNvSpPr/>
          <p:nvPr/>
        </p:nvSpPr>
        <p:spPr>
          <a:xfrm>
            <a:off x="676800" y="360000"/>
            <a:ext cx="4809600" cy="14688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де зарегистрироваться, на каком сайте </a:t>
            </a:r>
          </a:p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маркировки товаров?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A0ED554-B190-474C-B804-D29744816C3D}"/>
              </a:ext>
            </a:extLst>
          </p:cNvPr>
          <p:cNvSpPr/>
          <p:nvPr/>
        </p:nvSpPr>
        <p:spPr>
          <a:xfrm>
            <a:off x="675040" y="2465002"/>
            <a:ext cx="598333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астнику оборота товаров, который реализует товары подлежащие обязательной маркировке необходимо зарегистрироваться на сайте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 Государственной информационной системы мониторинга на сайте. </a:t>
            </a:r>
          </a:p>
          <a:p>
            <a:pPr fontAlgn="base"/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ые сайты, которые предлагают зарегистрироваться в Государственной информационной системы мониторинга не являются официальными. </a:t>
            </a:r>
          </a:p>
          <a:p>
            <a:pPr fontAlgn="base"/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сим Вас внимательно отнестись к регистрации в системе.</a:t>
            </a:r>
          </a:p>
        </p:txBody>
      </p:sp>
    </p:spTree>
    <p:extLst>
      <p:ext uri="{BB962C8B-B14F-4D97-AF65-F5344CB8AC3E}">
        <p14:creationId xmlns:p14="http://schemas.microsoft.com/office/powerpoint/2010/main" val="4122546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47F89F44-84D8-F44F-970A-226ABD465E96}"/>
              </a:ext>
            </a:extLst>
          </p:cNvPr>
          <p:cNvSpPr/>
          <p:nvPr/>
        </p:nvSpPr>
        <p:spPr>
          <a:xfrm>
            <a:off x="676799" y="360000"/>
            <a:ext cx="10797445" cy="88968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 описывать товары в </a:t>
            </a:r>
            <a:r>
              <a:rPr lang="ru-RU" sz="26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цкаталоге</a:t>
            </a:r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ли ГС1 Рус?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F9FB2C2-EC05-184F-9692-7A04C3A0FC89}"/>
              </a:ext>
            </a:extLst>
          </p:cNvPr>
          <p:cNvGrpSpPr/>
          <p:nvPr/>
        </p:nvGrpSpPr>
        <p:grpSpPr>
          <a:xfrm>
            <a:off x="839282" y="1674269"/>
            <a:ext cx="10513436" cy="4532721"/>
            <a:chOff x="780289" y="1674269"/>
            <a:chExt cx="10513436" cy="4532721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827A0FA0-9170-ED42-B588-5B6A9B3DBC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0289" y="1674269"/>
              <a:ext cx="3829134" cy="4532721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6D8BA1E3-02D3-9745-911D-216C7D3044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6032" y="1674269"/>
              <a:ext cx="6507693" cy="45327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7230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61E16CE-EFFD-417D-9627-92570F75B578}"/>
              </a:ext>
            </a:extLst>
          </p:cNvPr>
          <p:cNvSpPr txBox="1"/>
          <p:nvPr/>
        </p:nvSpPr>
        <p:spPr>
          <a:xfrm>
            <a:off x="596064" y="3247761"/>
            <a:ext cx="507062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дель производителя (должен совпадать с номером модели указанному в сертификате или декларации соответствия)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рана производства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 знака кода ТНВЭД ЕАЭС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 обуви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 материала, использованного для изготовления верха обуви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 материала, использованного для изготовления подкладки обуви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 материала, использованного для изготовления низа обуви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ренд (торговая марка)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Н российского производителя, или ИНН импортера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Цвет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мер в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штихмассовой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истеме</a:t>
            </a:r>
          </a:p>
          <a:p>
            <a:pPr marL="17145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именование товара на этикетке (формируется в свободной форме)</a:t>
            </a: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8F45F1E9-AAE9-7141-A0B3-83C8F5EC5706}"/>
              </a:ext>
            </a:extLst>
          </p:cNvPr>
          <p:cNvSpPr/>
          <p:nvPr/>
        </p:nvSpPr>
        <p:spPr>
          <a:xfrm>
            <a:off x="596081" y="360000"/>
            <a:ext cx="10980352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ние обувных товаров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C8F2FB-373C-5F44-BDB5-0B4E9832C1B4}"/>
              </a:ext>
            </a:extLst>
          </p:cNvPr>
          <p:cNvSpPr txBox="1"/>
          <p:nvPr/>
        </p:nvSpPr>
        <p:spPr>
          <a:xfrm>
            <a:off x="6494602" y="3247761"/>
            <a:ext cx="50706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 обуви (мужская, женская, детская)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Н собственника товара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 знака кода ТНВЭД ЕАЭС = группа «64»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особ ввода товара в оборот (Ввезен в РФ, Произведен в РФ) </a:t>
            </a:r>
          </a:p>
        </p:txBody>
      </p:sp>
      <p:cxnSp>
        <p:nvCxnSpPr>
          <p:cNvPr id="11" name="Straight Connector 26">
            <a:extLst>
              <a:ext uri="{FF2B5EF4-FFF2-40B4-BE49-F238E27FC236}">
                <a16:creationId xmlns:a16="http://schemas.microsoft.com/office/drawing/2014/main" id="{8FDDB0D3-2441-8344-A061-0EB0C7AB3F16}"/>
              </a:ext>
            </a:extLst>
          </p:cNvPr>
          <p:cNvCxnSpPr>
            <a:cxnSpLocks/>
          </p:cNvCxnSpPr>
          <p:nvPr/>
        </p:nvCxnSpPr>
        <p:spPr>
          <a:xfrm flipV="1">
            <a:off x="6096000" y="1712281"/>
            <a:ext cx="0" cy="4397802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20D1D4B7-AD0D-1F4D-AA0C-0E464C55DCDF}"/>
              </a:ext>
            </a:extLst>
          </p:cNvPr>
          <p:cNvSpPr/>
          <p:nvPr/>
        </p:nvSpPr>
        <p:spPr>
          <a:xfrm>
            <a:off x="596081" y="1712281"/>
            <a:ext cx="5070623" cy="618795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ное описание товара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C10DD528-CB61-0E49-B794-9A9BA07CD724}"/>
              </a:ext>
            </a:extLst>
          </p:cNvPr>
          <p:cNvSpPr/>
          <p:nvPr/>
        </p:nvSpPr>
        <p:spPr>
          <a:xfrm>
            <a:off x="6525298" y="1712281"/>
            <a:ext cx="5070623" cy="618795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кращенное описание товара</a:t>
            </a:r>
          </a:p>
        </p:txBody>
      </p:sp>
      <p:sp>
        <p:nvSpPr>
          <p:cNvPr id="13" name="Rectangle 179">
            <a:extLst>
              <a:ext uri="{FF2B5EF4-FFF2-40B4-BE49-F238E27FC236}">
                <a16:creationId xmlns:a16="http://schemas.microsoft.com/office/drawing/2014/main" id="{553FA11E-AB69-DF46-877B-2D4E937F48D0}"/>
              </a:ext>
            </a:extLst>
          </p:cNvPr>
          <p:cNvSpPr/>
          <p:nvPr/>
        </p:nvSpPr>
        <p:spPr>
          <a:xfrm>
            <a:off x="6525299" y="2573482"/>
            <a:ext cx="5051138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ОТ НЕ член ГС 1 и/или НЕ имеет возможность полностью описать товар</a:t>
            </a:r>
          </a:p>
        </p:txBody>
      </p:sp>
      <p:sp>
        <p:nvSpPr>
          <p:cNvPr id="14" name="Rectangle 179">
            <a:extLst>
              <a:ext uri="{FF2B5EF4-FFF2-40B4-BE49-F238E27FC236}">
                <a16:creationId xmlns:a16="http://schemas.microsoft.com/office/drawing/2014/main" id="{373FF5D5-8153-844B-BDEE-46BD06F51E5A}"/>
              </a:ext>
            </a:extLst>
          </p:cNvPr>
          <p:cNvSpPr/>
          <p:nvPr/>
        </p:nvSpPr>
        <p:spPr>
          <a:xfrm>
            <a:off x="596063" y="2573482"/>
            <a:ext cx="5070623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ОТ член ГС 1 и/или имеет возможность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ностью описать товар</a:t>
            </a:r>
          </a:p>
        </p:txBody>
      </p:sp>
    </p:spTree>
    <p:extLst>
      <p:ext uri="{BB962C8B-B14F-4D97-AF65-F5344CB8AC3E}">
        <p14:creationId xmlns:p14="http://schemas.microsoft.com/office/powerpoint/2010/main" val="57342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61E16CE-EFFD-417D-9627-92570F75B578}"/>
              </a:ext>
            </a:extLst>
          </p:cNvPr>
          <p:cNvSpPr txBox="1"/>
          <p:nvPr/>
        </p:nvSpPr>
        <p:spPr>
          <a:xfrm>
            <a:off x="596064" y="3247761"/>
            <a:ext cx="507062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товара (при наличии)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мер регламента (стандарта)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рана производства в соответствии с Общероссийским классификатором стран мира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 знака кода единой Товарной номенклатуры внешнеэкономической деятельности Евразийского экономического союза (далее — товарная номенклатура)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именование товара на этикетке и (или) ярлыке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 изделия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Целевой пол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став сырья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Цвет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мер изделия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дель изделия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варный знак (при наличии)</a:t>
            </a: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8F45F1E9-AAE9-7141-A0B3-83C8F5EC5706}"/>
              </a:ext>
            </a:extLst>
          </p:cNvPr>
          <p:cNvSpPr/>
          <p:nvPr/>
        </p:nvSpPr>
        <p:spPr>
          <a:xfrm>
            <a:off x="596081" y="360000"/>
            <a:ext cx="10980352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ние товаров легкой промышленности</a:t>
            </a:r>
            <a:endParaRPr lang="ru-PT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C8F2FB-373C-5F44-BDB5-0B4E9832C1B4}"/>
              </a:ext>
            </a:extLst>
          </p:cNvPr>
          <p:cNvSpPr txBox="1"/>
          <p:nvPr/>
        </p:nvSpPr>
        <p:spPr>
          <a:xfrm>
            <a:off x="6494602" y="3247761"/>
            <a:ext cx="507061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Н собственника товара</a:t>
            </a:r>
          </a:p>
          <a:p>
            <a:pPr marL="17145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 знака кода товарной номенклатуры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Целевой пол (мужская, женская, детская)</a:t>
            </a:r>
          </a:p>
          <a:p>
            <a:pPr marL="171450" lvl="0" indent="-171450">
              <a:buClr>
                <a:srgbClr val="595959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особ ввода товаров легкой промышленности в оборот (Ввезен в РФ, Произведен в РФ) </a:t>
            </a:r>
          </a:p>
        </p:txBody>
      </p:sp>
      <p:cxnSp>
        <p:nvCxnSpPr>
          <p:cNvPr id="11" name="Straight Connector 26">
            <a:extLst>
              <a:ext uri="{FF2B5EF4-FFF2-40B4-BE49-F238E27FC236}">
                <a16:creationId xmlns:a16="http://schemas.microsoft.com/office/drawing/2014/main" id="{8FDDB0D3-2441-8344-A061-0EB0C7AB3F16}"/>
              </a:ext>
            </a:extLst>
          </p:cNvPr>
          <p:cNvCxnSpPr>
            <a:cxnSpLocks/>
          </p:cNvCxnSpPr>
          <p:nvPr/>
        </p:nvCxnSpPr>
        <p:spPr>
          <a:xfrm flipV="1">
            <a:off x="6096000" y="1712281"/>
            <a:ext cx="0" cy="4397802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20D1D4B7-AD0D-1F4D-AA0C-0E464C55DCDF}"/>
              </a:ext>
            </a:extLst>
          </p:cNvPr>
          <p:cNvSpPr/>
          <p:nvPr/>
        </p:nvSpPr>
        <p:spPr>
          <a:xfrm>
            <a:off x="596081" y="1712281"/>
            <a:ext cx="5070623" cy="618795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ное описание товара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C10DD528-CB61-0E49-B794-9A9BA07CD724}"/>
              </a:ext>
            </a:extLst>
          </p:cNvPr>
          <p:cNvSpPr/>
          <p:nvPr/>
        </p:nvSpPr>
        <p:spPr>
          <a:xfrm>
            <a:off x="6525298" y="1712281"/>
            <a:ext cx="5070623" cy="618795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кращенное описание товара</a:t>
            </a:r>
          </a:p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для остатков продукции)</a:t>
            </a:r>
          </a:p>
        </p:txBody>
      </p:sp>
      <p:sp>
        <p:nvSpPr>
          <p:cNvPr id="13" name="Rectangle 179">
            <a:extLst>
              <a:ext uri="{FF2B5EF4-FFF2-40B4-BE49-F238E27FC236}">
                <a16:creationId xmlns:a16="http://schemas.microsoft.com/office/drawing/2014/main" id="{553FA11E-AB69-DF46-877B-2D4E937F48D0}"/>
              </a:ext>
            </a:extLst>
          </p:cNvPr>
          <p:cNvSpPr/>
          <p:nvPr/>
        </p:nvSpPr>
        <p:spPr>
          <a:xfrm>
            <a:off x="6525299" y="2573482"/>
            <a:ext cx="5051138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ОТ НЕ имеет возможность полностью описать товар</a:t>
            </a:r>
          </a:p>
        </p:txBody>
      </p:sp>
      <p:sp>
        <p:nvSpPr>
          <p:cNvPr id="14" name="Rectangle 179">
            <a:extLst>
              <a:ext uri="{FF2B5EF4-FFF2-40B4-BE49-F238E27FC236}">
                <a16:creationId xmlns:a16="http://schemas.microsoft.com/office/drawing/2014/main" id="{373FF5D5-8153-844B-BDEE-46BD06F51E5A}"/>
              </a:ext>
            </a:extLst>
          </p:cNvPr>
          <p:cNvSpPr/>
          <p:nvPr/>
        </p:nvSpPr>
        <p:spPr>
          <a:xfrm>
            <a:off x="596063" y="2573482"/>
            <a:ext cx="5070623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ОТ имеет возможность полностью описать товар</a:t>
            </a:r>
          </a:p>
        </p:txBody>
      </p:sp>
    </p:spTree>
    <p:extLst>
      <p:ext uri="{BB962C8B-B14F-4D97-AF65-F5344CB8AC3E}">
        <p14:creationId xmlns:p14="http://schemas.microsoft.com/office/powerpoint/2010/main" val="201739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3D88B0B-EA38-0C47-BE04-A0F1972290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969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A0ED554-B190-474C-B804-D29744816C3D}"/>
              </a:ext>
            </a:extLst>
          </p:cNvPr>
          <p:cNvSpPr/>
          <p:nvPr/>
        </p:nvSpPr>
        <p:spPr>
          <a:xfrm>
            <a:off x="675039" y="3214995"/>
            <a:ext cx="542096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гласно п. 49 постановления Правительства Российской Федерации от 05.07.2019 г. № 860 средство идентификации наносится 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 потребительскую упаковку, или на товары, или на товарные ярлыки 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увных товаров. Средство идентификации наносится на каждую единицу товара.</a:t>
            </a:r>
          </a:p>
          <a:p>
            <a:pPr fontAlgn="base"/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9D3F2A85-70F6-D547-B0B8-6CDD342B8CBB}"/>
              </a:ext>
            </a:extLst>
          </p:cNvPr>
          <p:cNvSpPr/>
          <p:nvPr/>
        </p:nvSpPr>
        <p:spPr>
          <a:xfrm>
            <a:off x="596082" y="359999"/>
            <a:ext cx="3782736" cy="1520315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fontAlgn="base"/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уда наносить</a:t>
            </a:r>
          </a:p>
          <a:p>
            <a:pPr fontAlgn="base"/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ы маркировки на обувных товарах</a:t>
            </a:r>
          </a:p>
        </p:txBody>
      </p:sp>
    </p:spTree>
    <p:extLst>
      <p:ext uri="{BB962C8B-B14F-4D97-AF65-F5344CB8AC3E}">
        <p14:creationId xmlns:p14="http://schemas.microsoft.com/office/powerpoint/2010/main" val="379242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Изображение выглядит как еда&#10;&#10;Автоматически созданное описание">
            <a:extLst>
              <a:ext uri="{FF2B5EF4-FFF2-40B4-BE49-F238E27FC236}">
                <a16:creationId xmlns:a16="http://schemas.microsoft.com/office/drawing/2014/main" id="{A644985E-56FB-2F42-BBA0-7FE30DFEA4A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056068"/>
            <a:ext cx="7131357" cy="5801932"/>
          </a:xfrm>
          <a:prstGeom prst="rect">
            <a:avLst/>
          </a:prstGeom>
        </p:spPr>
      </p:pic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6DBFFEDC-6C60-114E-A79C-8FE966BEEF24}"/>
              </a:ext>
            </a:extLst>
          </p:cNvPr>
          <p:cNvSpPr/>
          <p:nvPr/>
        </p:nvSpPr>
        <p:spPr>
          <a:xfrm>
            <a:off x="596081" y="360000"/>
            <a:ext cx="10814601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fontAlgn="base"/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уда наносить коды маркировки на товарах легкой промышленности?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A0ED554-B190-474C-B804-D29744816C3D}"/>
              </a:ext>
            </a:extLst>
          </p:cNvPr>
          <p:cNvSpPr/>
          <p:nvPr/>
        </p:nvSpPr>
        <p:spPr>
          <a:xfrm>
            <a:off x="6003381" y="1617314"/>
            <a:ext cx="5420961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гласно п.46 постановления Правительства Российской Федерации от 31.12.2019 г. № 1956 Средство идентификации наносится на товар, или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 на потребительскую упаковку, или этикетку, или ярлык 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етодом, не допускающим отделения средства идентификации.</a:t>
            </a:r>
            <a:b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b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 случае формирования набора товаров средство идентификации наносится на потребительскую упаковку набора товаров или этикетку, располагаемую на такой потребительской упаковке, а также на потребительскую упаковку товаров, входящую в состав этого набора товаров, или этикетку, располагаемую на такой потребительской упаковке.</a:t>
            </a:r>
            <a:b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b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 случае формирования комплекта товаров средство идентификации наносится на потребительскую упаковку комплекта товаров или этикетку, располагаемую на такой потребительской упаковке.</a:t>
            </a:r>
          </a:p>
        </p:txBody>
      </p:sp>
    </p:spTree>
    <p:extLst>
      <p:ext uri="{BB962C8B-B14F-4D97-AF65-F5344CB8AC3E}">
        <p14:creationId xmlns:p14="http://schemas.microsoft.com/office/powerpoint/2010/main" val="140645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61E16CE-EFFD-417D-9627-92570F75B578}"/>
              </a:ext>
            </a:extLst>
          </p:cNvPr>
          <p:cNvSpPr txBox="1"/>
          <p:nvPr/>
        </p:nvSpPr>
        <p:spPr>
          <a:xfrm>
            <a:off x="596079" y="2999889"/>
            <a:ext cx="49176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Комплект»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- определенная производителем совокупность товаров легкой промышленности, объединенная потребительской упаковкой, не подлежащая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укомплектации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и передаче права собственности между участниками оборота товаров, имеющая код идентификации комплекта и подлежащая реализации потребителю;</a:t>
            </a: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8F45F1E9-AAE9-7141-A0B3-83C8F5EC5706}"/>
              </a:ext>
            </a:extLst>
          </p:cNvPr>
          <p:cNvSpPr/>
          <p:nvPr/>
        </p:nvSpPr>
        <p:spPr>
          <a:xfrm>
            <a:off x="596081" y="360000"/>
            <a:ext cx="10814601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такое комплекты и наборы в </a:t>
            </a:r>
            <a:r>
              <a:rPr lang="ru-RU" sz="26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гпроме</a:t>
            </a:r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C8F2FB-373C-5F44-BDB5-0B4E9832C1B4}"/>
              </a:ext>
            </a:extLst>
          </p:cNvPr>
          <p:cNvSpPr txBox="1"/>
          <p:nvPr/>
        </p:nvSpPr>
        <p:spPr>
          <a:xfrm>
            <a:off x="6494603" y="2999889"/>
            <a:ext cx="4917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Набор»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- формируемая участником оборота товаров легкой промышленности совокупность товаров, каждая из которых имеет код идентификации, формируемая участниками оборота товаров на любом этапе, имеющая код идентификации набора и подлежащая реализации потребителю;</a:t>
            </a:r>
          </a:p>
        </p:txBody>
      </p:sp>
      <p:cxnSp>
        <p:nvCxnSpPr>
          <p:cNvPr id="11" name="Straight Connector 26">
            <a:extLst>
              <a:ext uri="{FF2B5EF4-FFF2-40B4-BE49-F238E27FC236}">
                <a16:creationId xmlns:a16="http://schemas.microsoft.com/office/drawing/2014/main" id="{8FDDB0D3-2441-8344-A061-0EB0C7AB3F16}"/>
              </a:ext>
            </a:extLst>
          </p:cNvPr>
          <p:cNvCxnSpPr>
            <a:cxnSpLocks/>
          </p:cNvCxnSpPr>
          <p:nvPr/>
        </p:nvCxnSpPr>
        <p:spPr>
          <a:xfrm flipV="1">
            <a:off x="5991694" y="2999889"/>
            <a:ext cx="0" cy="2585323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94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85829F0E-D441-BB45-B582-E7C3F613D4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0812" y="2021983"/>
            <a:ext cx="2435836" cy="2435836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D70CBCC-112B-514E-B282-4844A3B63A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3322" y="1868459"/>
            <a:ext cx="2589360" cy="258936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61E16CE-EFFD-417D-9627-92570F75B578}"/>
              </a:ext>
            </a:extLst>
          </p:cNvPr>
          <p:cNvSpPr txBox="1"/>
          <p:nvPr/>
        </p:nvSpPr>
        <p:spPr>
          <a:xfrm>
            <a:off x="715609" y="5093321"/>
            <a:ext cx="4526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необходима </a:t>
            </a:r>
          </a:p>
          <a:p>
            <a:pPr algn="ctr"/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сли продается конечное изделие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E16CE-EFFD-417D-9627-92570F75B578}"/>
              </a:ext>
            </a:extLst>
          </p:cNvPr>
          <p:cNvSpPr txBox="1"/>
          <p:nvPr/>
        </p:nvSpPr>
        <p:spPr>
          <a:xfrm>
            <a:off x="6707919" y="5093321"/>
            <a:ext cx="44801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не требуется </a:t>
            </a:r>
          </a:p>
          <a:p>
            <a:pPr algn="ctr"/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сли оказывается услуга по пошиву</a:t>
            </a:r>
          </a:p>
        </p:txBody>
      </p:sp>
      <p:cxnSp>
        <p:nvCxnSpPr>
          <p:cNvPr id="8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>
            <a:cxnSpLocks/>
          </p:cNvCxnSpPr>
          <p:nvPr/>
        </p:nvCxnSpPr>
        <p:spPr>
          <a:xfrm flipV="1">
            <a:off x="5991694" y="1764406"/>
            <a:ext cx="0" cy="3975246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069A4F4B-131F-1E47-821A-321FCFCBC1BA}"/>
              </a:ext>
            </a:extLst>
          </p:cNvPr>
          <p:cNvSpPr/>
          <p:nvPr/>
        </p:nvSpPr>
        <p:spPr>
          <a:xfrm>
            <a:off x="596081" y="360000"/>
            <a:ext cx="10814601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ужно ли маркировать товары если мы являемся ателье?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F2DF9BE-CD0E-2343-BF42-ECC1CA3019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8730" y="4252259"/>
            <a:ext cx="720000" cy="72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25661D7-6A14-6E4E-87AA-37ED26E5ED0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88002" y="4252259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89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D41ECC9-3FE2-AC44-8DEC-D42FA00EDFBC}"/>
              </a:ext>
            </a:extLst>
          </p:cNvPr>
          <p:cNvSpPr/>
          <p:nvPr/>
        </p:nvSpPr>
        <p:spPr>
          <a:xfrm>
            <a:off x="6096000" y="1605648"/>
            <a:ext cx="5736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сение изменений в Решение Комиссии Таможенного союза от 20.05.2010 </a:t>
            </a:r>
            <a:r>
              <a:rPr lang="ru-RU" sz="16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257 Указание кодов маркировки </a:t>
            </a:r>
          </a:p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графе 31 в соответствие с правилами оформления ДТ.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зможность декларирования товара с использованием: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9BEE3B38-1ED4-8840-B99A-8D5598AC6E62}"/>
              </a:ext>
            </a:extLst>
          </p:cNvPr>
          <p:cNvSpPr/>
          <p:nvPr/>
        </p:nvSpPr>
        <p:spPr>
          <a:xfrm>
            <a:off x="596081" y="360000"/>
            <a:ext cx="10814601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импорта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62D8A1-7E18-7141-A2E6-F49C28841C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081" y="1705831"/>
            <a:ext cx="4792169" cy="4792169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D1E0A97-AB75-144D-9CD5-0B4D1561B0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2440" y="2974717"/>
            <a:ext cx="360000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61A8C77-4CC3-3442-A0E2-CE13303E58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2440" y="3797677"/>
            <a:ext cx="360000" cy="36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D6A2218-1C79-E044-951E-66ACE9BB50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2440" y="4331077"/>
            <a:ext cx="360000" cy="360000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23A02DE-BD1F-BB4F-BE94-DF8489BA13C7}"/>
              </a:ext>
            </a:extLst>
          </p:cNvPr>
          <p:cNvSpPr/>
          <p:nvPr/>
        </p:nvSpPr>
        <p:spPr>
          <a:xfrm>
            <a:off x="6462440" y="2980561"/>
            <a:ext cx="536956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товара = Код маркировки</a:t>
            </a:r>
          </a:p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грегированный таможенный код = виртуальная группировка кодов маркировки в соответствие с принципами формирования 1 строки ДТ</a:t>
            </a:r>
          </a:p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транспортной упаковки = группировка единиц товара в транспортную упаковку для логистических целей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0D0ACF1-55F3-E64B-A85F-4208446AF788}"/>
              </a:ext>
            </a:extLst>
          </p:cNvPr>
          <p:cNvSpPr/>
          <p:nvPr/>
        </p:nvSpPr>
        <p:spPr>
          <a:xfrm>
            <a:off x="6102440" y="4928340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импорта обуви есть тоже свои правила маркировки. Согласно закону, ввод импортного товара в оборот начинается с после пересечения границы, но до первой продажи. Нанести цифровой код на обувь необходимо до прохода таможни, поскольку ввоз немаркированной продукции запрещён.</a:t>
            </a:r>
          </a:p>
        </p:txBody>
      </p:sp>
    </p:spTree>
    <p:extLst>
      <p:ext uri="{BB962C8B-B14F-4D97-AF65-F5344CB8AC3E}">
        <p14:creationId xmlns:p14="http://schemas.microsoft.com/office/powerpoint/2010/main" val="427106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D41ECC9-3FE2-AC44-8DEC-D42FA00EDFBC}"/>
              </a:ext>
            </a:extLst>
          </p:cNvPr>
          <p:cNvSpPr/>
          <p:nvPr/>
        </p:nvSpPr>
        <p:spPr>
          <a:xfrm>
            <a:off x="1167720" y="2968021"/>
            <a:ext cx="57360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buClr>
                <a:srgbClr val="595959"/>
              </a:buClr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ируется УПД (универсальный передаточный документ с указанием вида сделки), УКД,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en-US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</a:t>
            </a: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  <a:buClr>
                <a:srgbClr val="595959"/>
              </a:buClr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  <a:buClr>
                <a:srgbClr val="595959"/>
              </a:buClr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ывается УКЭП</a:t>
            </a:r>
            <a:r>
              <a:rPr lang="en-US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</a:t>
            </a: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  <a:buClr>
                <a:srgbClr val="595959"/>
              </a:buClr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  <a:buClr>
                <a:srgbClr val="595959"/>
              </a:buClr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равляется в информационную систему мониторинга в срок не более 3 рабочих дней со дня отгрузки, но не позднее дня передачи этих обувных товаров третьим лицам.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9BEE3B38-1ED4-8840-B99A-8D5598AC6E62}"/>
              </a:ext>
            </a:extLst>
          </p:cNvPr>
          <p:cNvSpPr/>
          <p:nvPr/>
        </p:nvSpPr>
        <p:spPr>
          <a:xfrm>
            <a:off x="676800" y="360000"/>
            <a:ext cx="10566456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дача прав собственности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E2699E0-CCA7-DB46-B91C-6D201C5F7E66}"/>
              </a:ext>
            </a:extLst>
          </p:cNvPr>
          <p:cNvSpPr/>
          <p:nvPr/>
        </p:nvSpPr>
        <p:spPr>
          <a:xfrm>
            <a:off x="807720" y="1769612"/>
            <a:ext cx="6096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передаче права собственности </a:t>
            </a:r>
          </a:p>
          <a:p>
            <a:pPr>
              <a:spcAft>
                <a:spcPts val="0"/>
              </a:spcAft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обувные товары, а также в рамках договоров комиссии, агентских договоров</a:t>
            </a:r>
            <a:r>
              <a:rPr lang="en-US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  <a:endParaRPr lang="en-US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20DE31D-7067-CD42-A8BB-79AA0E72B7E7}"/>
              </a:ext>
            </a:extLst>
          </p:cNvPr>
          <p:cNvSpPr/>
          <p:nvPr/>
        </p:nvSpPr>
        <p:spPr>
          <a:xfrm>
            <a:off x="807720" y="6052766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 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пользуется во всех проектах, кроме лекарств и меха</a:t>
            </a:r>
          </a:p>
        </p:txBody>
      </p:sp>
      <p:pic>
        <p:nvPicPr>
          <p:cNvPr id="5" name="Рисунок 4" descr="Изображение выглядит как игрушка, знак&#10;&#10;Автоматически созданное описание">
            <a:extLst>
              <a:ext uri="{FF2B5EF4-FFF2-40B4-BE49-F238E27FC236}">
                <a16:creationId xmlns:a16="http://schemas.microsoft.com/office/drawing/2014/main" id="{EC62D8A1-7E18-7141-A2E6-F49C28841C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4160" y="1021760"/>
            <a:ext cx="5369560" cy="536956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D1E0A97-AB75-144D-9CD5-0B4D1561B0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720" y="2999900"/>
            <a:ext cx="360000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61A8C77-4CC3-3442-A0E2-CE13303E58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720" y="3822860"/>
            <a:ext cx="360000" cy="36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D6A2218-1C79-E044-951E-66ACE9BB50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720" y="4356260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517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BFB7E2BF-EB14-C540-B8CC-DE46F5F76CA1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0579FCA-FCCB-0D43-BB09-021339A82BA9}"/>
              </a:ext>
            </a:extLst>
          </p:cNvPr>
          <p:cNvSpPr txBox="1">
            <a:spLocks/>
          </p:cNvSpPr>
          <p:nvPr/>
        </p:nvSpPr>
        <p:spPr>
          <a:xfrm>
            <a:off x="596165" y="2666396"/>
            <a:ext cx="4903670" cy="12567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 </a:t>
            </a:r>
            <a:r>
              <a:rPr lang="ru-RU" sz="2800" dirty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 ЗНАК </a:t>
            </a:r>
            <a:r>
              <a:rPr lang="ru-RU" sz="2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ЕНЯЛСЯ В ДИАЛОГЕ</a:t>
            </a:r>
          </a:p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БИЗНЕСОМ?</a:t>
            </a:r>
            <a:endParaRPr lang="en-US" sz="2800" dirty="0">
              <a:latin typeface="PT Sans Caption" pitchFamily="34" charset="-52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E219974D-0F20-DF41-BC99-653A706B8144}"/>
              </a:ext>
            </a:extLst>
          </p:cNvPr>
          <p:cNvSpPr txBox="1">
            <a:spLocks/>
          </p:cNvSpPr>
          <p:nvPr/>
        </p:nvSpPr>
        <p:spPr>
          <a:xfrm>
            <a:off x="8555590" y="773438"/>
            <a:ext cx="2880320" cy="12724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1400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Российская система маркировки товаров</a:t>
            </a:r>
            <a:endParaRPr lang="en-US" sz="1400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1400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Честный ЗНАК за последние пару лет охватила уже дюжину отраслей и развивается дальше.</a:t>
            </a:r>
            <a:endParaRPr lang="en-US" sz="1400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A0160C97-890F-344E-A640-16EB7D21C3EA}"/>
              </a:ext>
            </a:extLst>
          </p:cNvPr>
          <p:cNvSpPr txBox="1">
            <a:spLocks/>
          </p:cNvSpPr>
          <p:nvPr/>
        </p:nvSpPr>
        <p:spPr>
          <a:xfrm>
            <a:off x="8555590" y="2284198"/>
            <a:ext cx="3406981" cy="23266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1400" b="0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Для каждой отрасли работа начинается с создания рабочей группы с представителями бизнеса и оператором системы. На регулярных встречах бизнес и ЦРПТ вместе формируют облик системы и адаптируют общую концепцию под нужды конкретной отрасли.</a:t>
            </a:r>
            <a:endParaRPr lang="en-US" sz="1400" b="0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1BEAECF2-1E67-D549-8400-114BA28ED13B}"/>
              </a:ext>
            </a:extLst>
          </p:cNvPr>
          <p:cNvSpPr txBox="1">
            <a:spLocks/>
          </p:cNvSpPr>
          <p:nvPr/>
        </p:nvSpPr>
        <p:spPr>
          <a:xfrm>
            <a:off x="8555590" y="4416322"/>
            <a:ext cx="2637353" cy="22323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1400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В диалоге с бизнесом в системе Честный ЗНАК появился новый функционал, который облегчает работу участников оборота</a:t>
            </a:r>
            <a:endParaRPr lang="en-US" sz="1400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DD23A67-1159-694D-85AC-BF538AABD2F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6731" y="685733"/>
            <a:ext cx="1440000" cy="14400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4717C677-A5E5-FB4B-AF32-66534045991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6731" y="2709000"/>
            <a:ext cx="1440000" cy="144000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C01061B0-9FEB-2942-89BA-D8BA5969241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6731" y="481248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66554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6650634" y="2740820"/>
            <a:ext cx="485556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ажа юр. лицу или ИП</a:t>
            </a:r>
            <a:r>
              <a:rPr lang="en-US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           </a:t>
            </a:r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 для дальнейшей перепродажи</a:t>
            </a:r>
          </a:p>
          <a:p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исание в случае утери или порчи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спорт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ажа по образцам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BD1A62B-CA6E-7E41-8856-6B6B8EC5B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000" y="1131347"/>
            <a:ext cx="4997004" cy="4997004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9AFB2BA3-3357-CF49-8AEA-A762CEC726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634" y="2771300"/>
            <a:ext cx="360000" cy="3600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4A05B9FF-7018-E649-966F-B0C4AC4BFA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634" y="3670460"/>
            <a:ext cx="360000" cy="36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7E19F73A-7D0F-024A-B58E-C8893304FE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634" y="4280060"/>
            <a:ext cx="360000" cy="360000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49034099-D2B2-9A40-9AE6-9FC5A9EB17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634" y="4874420"/>
            <a:ext cx="360000" cy="360000"/>
          </a:xfrm>
          <a:prstGeom prst="rect">
            <a:avLst/>
          </a:prstGeom>
        </p:spPr>
      </p:pic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A8E3C94D-9BF3-964D-A32E-4D9AD6458BB3}"/>
              </a:ext>
            </a:extLst>
          </p:cNvPr>
          <p:cNvSpPr/>
          <p:nvPr/>
        </p:nvSpPr>
        <p:spPr>
          <a:xfrm>
            <a:off x="6096000" y="360000"/>
            <a:ext cx="5288280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вод из оборота другие причины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14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1779594" y="2206033"/>
            <a:ext cx="419915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сканировать код каждой единицы товара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рить печать в чеке кода маркированной продукции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рить отправку в ОФД кода маркированной продукции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рить в ЛК ГИС МТ отображение чека </a:t>
            </a: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9BEF5786-167A-884A-98E9-6C73070A2072}"/>
              </a:ext>
            </a:extLst>
          </p:cNvPr>
          <p:cNvSpPr/>
          <p:nvPr/>
        </p:nvSpPr>
        <p:spPr>
          <a:xfrm>
            <a:off x="676800" y="360000"/>
            <a:ext cx="5301944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вод из оборота</a:t>
            </a:r>
            <a:endParaRPr lang="en-US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розничной продаже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B016359-F99D-F948-8FD6-E64564AECD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8744" y="507317"/>
            <a:ext cx="5668192" cy="5668192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57E3961B-9089-DE41-B2E0-021809A7C0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9594" y="2206033"/>
            <a:ext cx="360000" cy="360000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FF31758D-E617-B54D-90A0-A3FBD4D475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9594" y="3161413"/>
            <a:ext cx="360000" cy="3600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877CCC27-9A63-1D41-8584-D2B9865AD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9594" y="4053926"/>
            <a:ext cx="360000" cy="36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6D0E284C-7B3A-D842-AE53-CDABA42701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9594" y="496167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431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3CAF4FC7-F257-D14D-8E68-19CF7518BD97}"/>
              </a:ext>
            </a:extLst>
          </p:cNvPr>
          <p:cNvSpPr/>
          <p:nvPr/>
        </p:nvSpPr>
        <p:spPr>
          <a:xfrm>
            <a:off x="676800" y="360000"/>
            <a:ext cx="10707480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вод из оборота при продаже через интернет-магазин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59753AE-8F5E-3740-8812-C2548505D2FD}"/>
              </a:ext>
            </a:extLst>
          </p:cNvPr>
          <p:cNvSpPr/>
          <p:nvPr/>
        </p:nvSpPr>
        <p:spPr>
          <a:xfrm>
            <a:off x="6629400" y="2364845"/>
            <a:ext cx="475488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сведений в ГИС МТ </a:t>
            </a: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передаче службе доставки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ытие по отгрузке службе доставки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ытие при доставке конечному </a:t>
            </a: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чателю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сутствие КМ при выбытии товара обязательно в кассовом чеке согласно действующему ФЗ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2BA69DF8-4037-FB42-8FF6-9A9ECB0093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400" y="2362947"/>
            <a:ext cx="360000" cy="36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21827E7-B4F1-8543-8B13-CE97E036F8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400" y="3272513"/>
            <a:ext cx="360000" cy="360000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1048F7F1-B50D-7A47-8600-3383237F37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400" y="3922833"/>
            <a:ext cx="360000" cy="3600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E36BF099-7C9D-244E-953F-4541E37BAD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400" y="4823257"/>
            <a:ext cx="360000" cy="360000"/>
          </a:xfrm>
          <a:prstGeom prst="rect">
            <a:avLst/>
          </a:prstGeom>
        </p:spPr>
      </p:pic>
      <p:pic>
        <p:nvPicPr>
          <p:cNvPr id="41" name="Picture 2">
            <a:extLst>
              <a:ext uri="{FF2B5EF4-FFF2-40B4-BE49-F238E27FC236}">
                <a16:creationId xmlns:a16="http://schemas.microsoft.com/office/drawing/2014/main" id="{8DE47282-AD43-1142-857A-409EF37CF7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1933" y="2362947"/>
            <a:ext cx="4360668" cy="334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32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91F10C27-769F-5345-B836-A04DCFBE614C}"/>
              </a:ext>
            </a:extLst>
          </p:cNvPr>
          <p:cNvSpPr/>
          <p:nvPr/>
        </p:nvSpPr>
        <p:spPr>
          <a:xfrm>
            <a:off x="676800" y="360000"/>
            <a:ext cx="6132368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зврат товара и </a:t>
            </a:r>
            <a:r>
              <a:rPr lang="ru-RU" sz="2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маркировка</a:t>
            </a:r>
            <a:endParaRPr lang="ru-PT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5C55685-EA0C-464F-AC38-DA4642AEA7E7}"/>
              </a:ext>
            </a:extLst>
          </p:cNvPr>
          <p:cNvSpPr/>
          <p:nvPr/>
        </p:nvSpPr>
        <p:spPr>
          <a:xfrm>
            <a:off x="1341120" y="2364845"/>
            <a:ext cx="475488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формление возврата с покупателем документально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анирование этикетки и повторный ввод товара в оборот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маркировка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если этикетка </a:t>
            </a: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 читается/утеряна</a:t>
            </a:r>
          </a:p>
          <a:p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сение изменений в 860 ППР, </a:t>
            </a:r>
          </a:p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</a:t>
            </a:r>
            <a:r>
              <a:rPr lang="ru-RU" sz="20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маркировке</a:t>
            </a:r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0D2A4FF9-81E7-CB47-B680-681EADD4B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120" y="2401584"/>
            <a:ext cx="360000" cy="3600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BA6925D2-F39D-E547-ABF3-96DBA12C7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120" y="3298271"/>
            <a:ext cx="360000" cy="3600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9095637-51BC-D64E-B574-4C3EA22A40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120" y="4231926"/>
            <a:ext cx="360000" cy="360000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BE4B2C0A-9682-3E42-BD0C-5B29844204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120" y="5145230"/>
            <a:ext cx="360000" cy="360000"/>
          </a:xfrm>
          <a:prstGeom prst="rect">
            <a:avLst/>
          </a:prstGeom>
        </p:spPr>
      </p:pic>
      <p:pic>
        <p:nvPicPr>
          <p:cNvPr id="3" name="Рисунок 2" descr="Изображение выглядит как знак&#10;&#10;Автоматически созданное описание">
            <a:extLst>
              <a:ext uri="{FF2B5EF4-FFF2-40B4-BE49-F238E27FC236}">
                <a16:creationId xmlns:a16="http://schemas.microsoft.com/office/drawing/2014/main" id="{A679105F-69CF-0C42-8C9D-40009BCFB1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9168" y="1468192"/>
            <a:ext cx="4607774" cy="4607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781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человек, внутренний, держит, рука&#10;&#10;Автоматически созданное описание">
            <a:extLst>
              <a:ext uri="{FF2B5EF4-FFF2-40B4-BE49-F238E27FC236}">
                <a16:creationId xmlns:a16="http://schemas.microsoft.com/office/drawing/2014/main" id="{E5446474-42D2-2E49-A4B4-7D6C218A6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990826"/>
          </a:xfrm>
          <a:prstGeom prst="rect">
            <a:avLst/>
          </a:prstGeom>
        </p:spPr>
      </p:pic>
      <p:pic>
        <p:nvPicPr>
          <p:cNvPr id="6" name="Рисунок 5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25C8CA87-AF8B-8549-AA45-043A054083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4702" y="5406900"/>
            <a:ext cx="1800000" cy="540000"/>
          </a:xfrm>
          <a:prstGeom prst="rect">
            <a:avLst/>
          </a:prstGeom>
        </p:spPr>
      </p:pic>
      <p:pic>
        <p:nvPicPr>
          <p:cNvPr id="8" name="Рисунок 7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BF9DA059-1991-0D44-AF43-3CDA4637B0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0000" y="5406900"/>
            <a:ext cx="1800000" cy="540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BAEAF02-D638-7244-B5F5-FF05609DF172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642656" y="3980124"/>
            <a:ext cx="1054688" cy="1080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84F7E43-C661-A041-A21F-B1F76C6436AD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498988" y="3961612"/>
            <a:ext cx="1071429" cy="1080000"/>
          </a:xfrm>
          <a:prstGeom prst="rect">
            <a:avLst/>
          </a:prstGeom>
        </p:spPr>
      </p:pic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6F16881D-776E-E54A-A6A0-DCF911987BEB}"/>
              </a:ext>
            </a:extLst>
          </p:cNvPr>
          <p:cNvSpPr/>
          <p:nvPr/>
        </p:nvSpPr>
        <p:spPr>
          <a:xfrm>
            <a:off x="675039" y="699679"/>
            <a:ext cx="3416300" cy="119008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щественный </a:t>
            </a:r>
          </a:p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нтроль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2007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Скругленный прямоугольник 94">
            <a:extLst>
              <a:ext uri="{FF2B5EF4-FFF2-40B4-BE49-F238E27FC236}">
                <a16:creationId xmlns:a16="http://schemas.microsoft.com/office/drawing/2014/main" id="{5A9161E9-85CC-714F-958F-A3E448F24785}"/>
              </a:ext>
            </a:extLst>
          </p:cNvPr>
          <p:cNvSpPr/>
          <p:nvPr/>
        </p:nvSpPr>
        <p:spPr>
          <a:xfrm>
            <a:off x="1617679" y="699679"/>
            <a:ext cx="8956641" cy="144000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ctr"/>
          <a:lstStyle/>
          <a:p>
            <a:r>
              <a:rPr lang="ru-RU" sz="2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будет если я буду продавать с 1 июля 2020 года </a:t>
            </a:r>
            <a:endParaRPr lang="en-US" sz="26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 маркированные обувные товары?</a:t>
            </a:r>
            <a:endParaRPr lang="ru-PT" sz="26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2" name="Скругленный прямоугольник 94">
            <a:extLst>
              <a:ext uri="{FF2B5EF4-FFF2-40B4-BE49-F238E27FC236}">
                <a16:creationId xmlns:a16="http://schemas.microsoft.com/office/drawing/2014/main" id="{27453F61-01A3-455D-8E3C-45C526A04CBA}"/>
              </a:ext>
            </a:extLst>
          </p:cNvPr>
          <p:cNvSpPr/>
          <p:nvPr/>
        </p:nvSpPr>
        <p:spPr>
          <a:xfrm>
            <a:off x="1617679" y="2709000"/>
            <a:ext cx="8956641" cy="144000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ctr"/>
          <a:lstStyle/>
          <a:p>
            <a:r>
              <a:rPr lang="ru-RU" sz="2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будет если я приобрету не маркированные обувные товары после 1 июля 2020 года?</a:t>
            </a:r>
            <a:endParaRPr lang="ru-PT" sz="26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Скругленный прямоугольник 94">
            <a:extLst>
              <a:ext uri="{FF2B5EF4-FFF2-40B4-BE49-F238E27FC236}">
                <a16:creationId xmlns:a16="http://schemas.microsoft.com/office/drawing/2014/main" id="{06D14FC1-B4BD-4DE3-91C7-F53553EB1CBC}"/>
              </a:ext>
            </a:extLst>
          </p:cNvPr>
          <p:cNvSpPr/>
          <p:nvPr/>
        </p:nvSpPr>
        <p:spPr>
          <a:xfrm>
            <a:off x="1617679" y="4718321"/>
            <a:ext cx="8956641" cy="144000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ctr"/>
          <a:lstStyle/>
          <a:p>
            <a:r>
              <a:rPr lang="ru-RU" sz="2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будет если я не подам сведения в систему Честного знака о маркированных обувных товарах после 1 июля 2020 года?</a:t>
            </a:r>
            <a:endParaRPr lang="ru-PT" sz="26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5099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 descr="Изображение выглядит как легкий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7D4FC208-203B-F045-ABCC-E3439E30E8F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8028" y="3069000"/>
            <a:ext cx="1800000" cy="1800000"/>
          </a:xfrm>
          <a:prstGeom prst="rect">
            <a:avLst/>
          </a:prstGeom>
        </p:spPr>
      </p:pic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60CD422A-FB21-A848-956D-EA2BFF8F0F5E}"/>
              </a:ext>
            </a:extLst>
          </p:cNvPr>
          <p:cNvSpPr/>
          <p:nvPr/>
        </p:nvSpPr>
        <p:spPr>
          <a:xfrm>
            <a:off x="676800" y="360000"/>
            <a:ext cx="10707480" cy="87444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fontAlgn="base"/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тья 15.12 Кодекса РФ об административных правонарушениях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1DBBD6A-B14B-C642-8326-4E4E7C5F81FC}"/>
              </a:ext>
            </a:extLst>
          </p:cNvPr>
          <p:cNvSpPr/>
          <p:nvPr/>
        </p:nvSpPr>
        <p:spPr>
          <a:xfrm>
            <a:off x="807720" y="1769612"/>
            <a:ext cx="998477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лучае производства или продажи товаров, в отношении которых установлены требования по маркировке, без соответствующей маркировки, а также с нарушением установленного порядка нанесения такой маркировки предусмотрены штрафы: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676800" y="5245058"/>
            <a:ext cx="3172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buClr>
                <a:srgbClr val="595959"/>
              </a:buClr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 граждан —  2 000–4 000 рублей </a:t>
            </a:r>
            <a:b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 конфискацией предметов</a:t>
            </a:r>
            <a:endParaRPr lang="en-US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 fontAlgn="base">
              <a:buClr>
                <a:srgbClr val="595959"/>
              </a:buClr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дминистративного правонарушения;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B9DE1D-1FEE-7642-B71B-81CBA29E239F}"/>
              </a:ext>
            </a:extLst>
          </p:cNvPr>
          <p:cNvSpPr txBox="1"/>
          <p:nvPr/>
        </p:nvSpPr>
        <p:spPr>
          <a:xfrm>
            <a:off x="4444288" y="5245058"/>
            <a:ext cx="3172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buClr>
                <a:srgbClr val="595959"/>
              </a:buClr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 юридических лиц — 50 000–300 000 рублей с конфискацией предметов административного правонарушения;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D6A1B4-7291-264A-BA35-683934C161FD}"/>
              </a:ext>
            </a:extLst>
          </p:cNvPr>
          <p:cNvSpPr txBox="1"/>
          <p:nvPr/>
        </p:nvSpPr>
        <p:spPr>
          <a:xfrm>
            <a:off x="8211776" y="5245058"/>
            <a:ext cx="3172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buClr>
                <a:srgbClr val="595959"/>
              </a:buClr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 должностных лиц —  5 000–10 000 рублей с конфискацией предметов административного правонарушения.</a:t>
            </a:r>
          </a:p>
        </p:txBody>
      </p:sp>
      <p:pic>
        <p:nvPicPr>
          <p:cNvPr id="6" name="Рисунок 5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A77C588F-96FA-E341-82D0-FDD46607F0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8028" y="4149000"/>
            <a:ext cx="720000" cy="720000"/>
          </a:xfrm>
          <a:prstGeom prst="rect">
            <a:avLst/>
          </a:prstGeom>
        </p:spPr>
      </p:pic>
      <p:pic>
        <p:nvPicPr>
          <p:cNvPr id="20" name="Рисунок 19" descr="Изображение выглядит как легкий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7B7B1FF2-945F-FE4A-9B28-6E1CCD3FE5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6000" y="3069000"/>
            <a:ext cx="1800000" cy="1800000"/>
          </a:xfrm>
          <a:prstGeom prst="rect">
            <a:avLst/>
          </a:prstGeom>
        </p:spPr>
      </p:pic>
      <p:pic>
        <p:nvPicPr>
          <p:cNvPr id="21" name="Рисунок 20" descr="Изображение выглядит как легкий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5B5C22F5-E530-E646-9432-31A4FD28B5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3052" y="3069000"/>
            <a:ext cx="1800000" cy="1800000"/>
          </a:xfrm>
          <a:prstGeom prst="rect">
            <a:avLst/>
          </a:prstGeom>
        </p:spPr>
      </p:pic>
      <p:pic>
        <p:nvPicPr>
          <p:cNvPr id="18" name="Рисунок 17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B659780C-A939-2745-B202-8306D502FCA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6000" y="4149000"/>
            <a:ext cx="720000" cy="720000"/>
          </a:xfrm>
          <a:prstGeom prst="rect">
            <a:avLst/>
          </a:prstGeom>
        </p:spPr>
      </p:pic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69C88597-E3C6-F149-8917-78578A6320B4}"/>
              </a:ext>
            </a:extLst>
          </p:cNvPr>
          <p:cNvCxnSpPr>
            <a:cxnSpLocks/>
          </p:cNvCxnSpPr>
          <p:nvPr/>
        </p:nvCxnSpPr>
        <p:spPr>
          <a:xfrm flipH="1">
            <a:off x="853192" y="5044044"/>
            <a:ext cx="2996112" cy="0"/>
          </a:xfrm>
          <a:prstGeom prst="line">
            <a:avLst/>
          </a:prstGeom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3BA014E7-2323-5144-8B7B-3A7965A5A30F}"/>
              </a:ext>
            </a:extLst>
          </p:cNvPr>
          <p:cNvCxnSpPr>
            <a:cxnSpLocks/>
          </p:cNvCxnSpPr>
          <p:nvPr/>
        </p:nvCxnSpPr>
        <p:spPr>
          <a:xfrm flipH="1">
            <a:off x="4597944" y="5044044"/>
            <a:ext cx="2996112" cy="0"/>
          </a:xfrm>
          <a:prstGeom prst="line">
            <a:avLst/>
          </a:prstGeom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F667FC5C-1657-8A4A-8D1B-49442CF50B92}"/>
              </a:ext>
            </a:extLst>
          </p:cNvPr>
          <p:cNvCxnSpPr>
            <a:cxnSpLocks/>
          </p:cNvCxnSpPr>
          <p:nvPr/>
        </p:nvCxnSpPr>
        <p:spPr>
          <a:xfrm flipH="1">
            <a:off x="8299972" y="5044044"/>
            <a:ext cx="2996112" cy="0"/>
          </a:xfrm>
          <a:prstGeom prst="line">
            <a:avLst/>
          </a:prstGeom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633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>
            <a:extLst>
              <a:ext uri="{FF2B5EF4-FFF2-40B4-BE49-F238E27FC236}">
                <a16:creationId xmlns:a16="http://schemas.microsoft.com/office/drawing/2014/main" id="{6FB0A5B0-9B6A-AA41-AEB8-D92A624A9F96}"/>
              </a:ext>
            </a:extLst>
          </p:cNvPr>
          <p:cNvSpPr txBox="1"/>
          <p:nvPr/>
        </p:nvSpPr>
        <p:spPr>
          <a:xfrm>
            <a:off x="7071616" y="4851708"/>
            <a:ext cx="460001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улярные обучающие вебинары на сайте </a:t>
            </a:r>
          </a:p>
          <a:p>
            <a:r>
              <a:rPr lang="ru-RU" sz="1400" b="1" u="sng" dirty="0" err="1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400" b="1" u="sng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дел мероприятия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расписания вебинаров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иси мероприятий в разделе мероприятия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идеоархив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ABC16AD-5571-8247-9958-6DBEA1092F1A}"/>
              </a:ext>
            </a:extLst>
          </p:cNvPr>
          <p:cNvSpPr txBox="1"/>
          <p:nvPr/>
        </p:nvSpPr>
        <p:spPr>
          <a:xfrm>
            <a:off x="7071616" y="2118049"/>
            <a:ext cx="47305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новости маркировки в режиме реального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ремени в канале телеграмм</a:t>
            </a:r>
          </a:p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.me/crptbreaking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DF7CC8A-CA17-DF42-8C37-A594269EE51F}"/>
              </a:ext>
            </a:extLst>
          </p:cNvPr>
          <p:cNvSpPr txBox="1"/>
          <p:nvPr/>
        </p:nvSpPr>
        <p:spPr>
          <a:xfrm>
            <a:off x="7057478" y="3107575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ео-инструкции и опыт участников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анале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ouTube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</a:t>
            </a:r>
            <a:endParaRPr lang="ru-RU" sz="11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291CFBB-3D1A-E942-B4F2-1E8028C3B148}"/>
              </a:ext>
            </a:extLst>
          </p:cNvPr>
          <p:cNvSpPr txBox="1"/>
          <p:nvPr/>
        </p:nvSpPr>
        <p:spPr>
          <a:xfrm>
            <a:off x="1629445" y="3107575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(800) 222-15-2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C66992E-4DFD-C042-A069-209911403CB5}"/>
              </a:ext>
            </a:extLst>
          </p:cNvPr>
          <p:cNvSpPr txBox="1"/>
          <p:nvPr/>
        </p:nvSpPr>
        <p:spPr>
          <a:xfrm>
            <a:off x="1629445" y="2225771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написать нам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почте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endParaRPr lang="ru-RU" sz="14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D046A59-47DF-BD49-9B21-7FAA3B39E432}"/>
              </a:ext>
            </a:extLst>
          </p:cNvPr>
          <p:cNvSpPr txBox="1"/>
          <p:nvPr/>
        </p:nvSpPr>
        <p:spPr>
          <a:xfrm>
            <a:off x="1637160" y="5785383"/>
            <a:ext cx="460001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vk.com/crptec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endParaRPr lang="ru-RU" sz="11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97255E8-CA71-B441-9754-546063E74BEF}"/>
              </a:ext>
            </a:extLst>
          </p:cNvPr>
          <p:cNvSpPr txBox="1"/>
          <p:nvPr/>
        </p:nvSpPr>
        <p:spPr>
          <a:xfrm>
            <a:off x="579227" y="4078296"/>
            <a:ext cx="4668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узнать самые горячие новости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задать вопросы в наших </a:t>
            </a:r>
            <a:r>
              <a:rPr lang="ru-RU" sz="1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ц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альных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тях</a:t>
            </a:r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73D5C47-40BE-A843-A255-D34C83C913A8}"/>
              </a:ext>
            </a:extLst>
          </p:cNvPr>
          <p:cNvSpPr txBox="1"/>
          <p:nvPr/>
        </p:nvSpPr>
        <p:spPr>
          <a:xfrm>
            <a:off x="1637160" y="4942227"/>
            <a:ext cx="4600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acebook.com/crpt.ru/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fi-FI" sz="14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Скругленный прямоугольник 58">
            <a:extLst>
              <a:ext uri="{FF2B5EF4-FFF2-40B4-BE49-F238E27FC236}">
                <a16:creationId xmlns:a16="http://schemas.microsoft.com/office/drawing/2014/main" id="{CD298B0D-DD0D-B240-96AB-1EBF85CB4E3C}"/>
              </a:ext>
            </a:extLst>
          </p:cNvPr>
          <p:cNvSpPr/>
          <p:nvPr/>
        </p:nvSpPr>
        <p:spPr>
          <a:xfrm>
            <a:off x="675039" y="430171"/>
            <a:ext cx="9171605" cy="115249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на связи всегда: прямая связь с экспертами, ответы на вопросы онлайн</a:t>
            </a:r>
          </a:p>
        </p:txBody>
      </p:sp>
      <p:pic>
        <p:nvPicPr>
          <p:cNvPr id="52" name="Picture 44">
            <a:extLst>
              <a:ext uri="{FF2B5EF4-FFF2-40B4-BE49-F238E27FC236}">
                <a16:creationId xmlns:a16="http://schemas.microsoft.com/office/drawing/2014/main" id="{6D554563-0837-894E-AA72-4D69BFCF1E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3018659"/>
            <a:ext cx="720000" cy="701053"/>
          </a:xfrm>
          <a:prstGeom prst="rect">
            <a:avLst/>
          </a:prstGeom>
        </p:spPr>
      </p:pic>
      <p:pic>
        <p:nvPicPr>
          <p:cNvPr id="53" name="Picture 45">
            <a:extLst>
              <a:ext uri="{FF2B5EF4-FFF2-40B4-BE49-F238E27FC236}">
                <a16:creationId xmlns:a16="http://schemas.microsoft.com/office/drawing/2014/main" id="{81D42D2A-FA0A-214A-B01F-8C682B8BDB9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2136855"/>
            <a:ext cx="720000" cy="701053"/>
          </a:xfrm>
          <a:prstGeom prst="rect">
            <a:avLst/>
          </a:prstGeom>
        </p:spPr>
      </p:pic>
      <p:pic>
        <p:nvPicPr>
          <p:cNvPr id="54" name="Picture 46">
            <a:extLst>
              <a:ext uri="{FF2B5EF4-FFF2-40B4-BE49-F238E27FC236}">
                <a16:creationId xmlns:a16="http://schemas.microsoft.com/office/drawing/2014/main" id="{38CBD917-188D-BD42-A78D-15219CD5B5B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876" y="3018658"/>
            <a:ext cx="720000" cy="701053"/>
          </a:xfrm>
          <a:prstGeom prst="rect">
            <a:avLst/>
          </a:prstGeom>
        </p:spPr>
      </p:pic>
      <p:pic>
        <p:nvPicPr>
          <p:cNvPr id="55" name="Picture 47">
            <a:extLst>
              <a:ext uri="{FF2B5EF4-FFF2-40B4-BE49-F238E27FC236}">
                <a16:creationId xmlns:a16="http://schemas.microsoft.com/office/drawing/2014/main" id="{B058E385-77F6-4A47-838B-D14BD49BF86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876" y="2136855"/>
            <a:ext cx="720000" cy="701053"/>
          </a:xfrm>
          <a:prstGeom prst="rect">
            <a:avLst/>
          </a:prstGeom>
        </p:spPr>
      </p:pic>
      <p:pic>
        <p:nvPicPr>
          <p:cNvPr id="56" name="Picture 48">
            <a:extLst>
              <a:ext uri="{FF2B5EF4-FFF2-40B4-BE49-F238E27FC236}">
                <a16:creationId xmlns:a16="http://schemas.microsoft.com/office/drawing/2014/main" id="{4B22654D-FFEA-7048-8A1F-063D44C70F5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039" y="4757721"/>
            <a:ext cx="720000" cy="701053"/>
          </a:xfrm>
          <a:prstGeom prst="rect">
            <a:avLst/>
          </a:prstGeom>
        </p:spPr>
      </p:pic>
      <p:pic>
        <p:nvPicPr>
          <p:cNvPr id="73" name="Picture 49">
            <a:extLst>
              <a:ext uri="{FF2B5EF4-FFF2-40B4-BE49-F238E27FC236}">
                <a16:creationId xmlns:a16="http://schemas.microsoft.com/office/drawing/2014/main" id="{A2E6CF71-401F-9146-9572-E2D52103ECD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5614979"/>
            <a:ext cx="720000" cy="701053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F1FA1761-F113-D64A-BCCD-21357CCA2AA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15034" y="4774706"/>
            <a:ext cx="778374" cy="156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65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электроника, компьютер&#10;&#10;Автоматически созданное описание">
            <a:extLst>
              <a:ext uri="{FF2B5EF4-FFF2-40B4-BE49-F238E27FC236}">
                <a16:creationId xmlns:a16="http://schemas.microsoft.com/office/drawing/2014/main" id="{10DFA20F-8371-924B-BCA8-956FCD6BD1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7783" y="877618"/>
            <a:ext cx="5483538" cy="5483538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13847B9-CB05-416B-BA71-F8A1599EDA75}"/>
              </a:ext>
            </a:extLst>
          </p:cNvPr>
          <p:cNvSpPr/>
          <p:nvPr/>
        </p:nvSpPr>
        <p:spPr>
          <a:xfrm>
            <a:off x="1176707" y="2142059"/>
            <a:ext cx="585009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 вас технические вопросы, на которые не можете найти ответа?</a:t>
            </a:r>
            <a:endParaRPr lang="en-US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хнические вопросы с партнерскими решениями </a:t>
            </a:r>
            <a:endParaRPr lang="en-US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программным обеспечением?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EFB3F94-E583-4684-82FA-672493482350}"/>
              </a:ext>
            </a:extLst>
          </p:cNvPr>
          <p:cNvSpPr/>
          <p:nvPr/>
        </p:nvSpPr>
        <p:spPr>
          <a:xfrm>
            <a:off x="676800" y="4045589"/>
            <a:ext cx="621009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перь вы можете написать напрямую мне</a:t>
            </a:r>
            <a:endParaRPr lang="en-US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почтовый ящик – </a:t>
            </a:r>
            <a:r>
              <a:rPr lang="en-US" b="1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leksandrDolgiev@crpt.ru</a:t>
            </a:r>
          </a:p>
          <a:p>
            <a:pPr fontAlgn="base"/>
            <a:endParaRPr lang="en-US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о пришлите номер обращения в службу технической поддержки, опишите технический вопрос связанный с работой Честного Знака или партнерского решения, мы обязательно поможем Вам.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4FA9BB35-5082-D348-8F62-1568FB2F62B6}"/>
              </a:ext>
            </a:extLst>
          </p:cNvPr>
          <p:cNvSpPr/>
          <p:nvPr/>
        </p:nvSpPr>
        <p:spPr>
          <a:xfrm>
            <a:off x="676800" y="359999"/>
            <a:ext cx="6350000" cy="113394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6 недель до старта обязательной маркировки обуви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47A4C59-F54C-1A41-A99A-25C0C24C7E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707" y="2142059"/>
            <a:ext cx="360000" cy="360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5A654BA-9551-1544-BB49-A463704800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707" y="2966308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61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95E502C-5A90-8045-8A7B-EBDFBDF7BD2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B355D07-461E-FC4E-BC22-D57E66B8E6DA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3DD9F34-1121-994A-9010-3AEA45D7466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190" y="5015463"/>
            <a:ext cx="3920996" cy="733563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093A896-B72B-1749-AF03-2D6D117F244A}"/>
              </a:ext>
            </a:extLst>
          </p:cNvPr>
          <p:cNvSpPr/>
          <p:nvPr/>
        </p:nvSpPr>
        <p:spPr>
          <a:xfrm>
            <a:off x="836567" y="3504339"/>
            <a:ext cx="29005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9852"/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800 222 1523</a:t>
            </a:r>
            <a:endParaRPr lang="en-US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en-GB" u="sng" dirty="0" err="1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@crpt.ru</a:t>
            </a:r>
            <a:endParaRPr lang="ru-RU" u="sng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F43BFC87-BC7A-A140-8473-D318655C14EE}"/>
              </a:ext>
            </a:extLst>
          </p:cNvPr>
          <p:cNvSpPr txBox="1">
            <a:spLocks/>
          </p:cNvSpPr>
          <p:nvPr/>
        </p:nvSpPr>
        <p:spPr>
          <a:xfrm>
            <a:off x="734677" y="546566"/>
            <a:ext cx="4556990" cy="737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E794D914-E32A-824F-8A06-0C571F35E9B3}"/>
              </a:ext>
            </a:extLst>
          </p:cNvPr>
          <p:cNvCxnSpPr>
            <a:cxnSpLocks/>
          </p:cNvCxnSpPr>
          <p:nvPr/>
        </p:nvCxnSpPr>
        <p:spPr>
          <a:xfrm flipH="1">
            <a:off x="836567" y="1358553"/>
            <a:ext cx="2366655" cy="0"/>
          </a:xfrm>
          <a:prstGeom prst="line">
            <a:avLst/>
          </a:prstGeom>
          <a:ln w="41275">
            <a:solidFill>
              <a:srgbClr val="EA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636699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4E2C4F4C-63A1-3647-84B8-944CDB2A9D0A}"/>
              </a:ext>
            </a:extLst>
          </p:cNvPr>
          <p:cNvSpPr/>
          <p:nvPr/>
        </p:nvSpPr>
        <p:spPr>
          <a:xfrm>
            <a:off x="825900" y="521150"/>
            <a:ext cx="4838052" cy="8869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7A9F58F-49CF-B141-9FDC-839C7E1670EB}"/>
              </a:ext>
            </a:extLst>
          </p:cNvPr>
          <p:cNvSpPr txBox="1">
            <a:spLocks/>
          </p:cNvSpPr>
          <p:nvPr/>
        </p:nvSpPr>
        <p:spPr>
          <a:xfrm>
            <a:off x="838681" y="516092"/>
            <a:ext cx="4825271" cy="886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839852">
              <a:lnSpc>
                <a:spcPct val="100000"/>
              </a:lnSpc>
            </a:pPr>
            <a:r>
              <a:rPr lang="ru-RU" sz="28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а и пользователи</a:t>
            </a:r>
            <a:endParaRPr lang="en-US" sz="2800" dirty="0">
              <a:solidFill>
                <a:srgbClr val="695F5F"/>
              </a:solidFill>
              <a:latin typeface="PT Sans Caption" pitchFamily="34" charset="-52"/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3D730D61-770A-0042-96F0-AFE9D8D2C200}"/>
              </a:ext>
            </a:extLst>
          </p:cNvPr>
          <p:cNvSpPr txBox="1">
            <a:spLocks/>
          </p:cNvSpPr>
          <p:nvPr/>
        </p:nvSpPr>
        <p:spPr>
          <a:xfrm>
            <a:off x="802820" y="5480030"/>
            <a:ext cx="4968552" cy="872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1100" b="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ботать с Честным </a:t>
            </a:r>
            <a:r>
              <a:rPr lang="ru-RU" sz="1100" b="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НАКом</a:t>
            </a:r>
            <a:r>
              <a:rPr lang="ru-RU" sz="1100" b="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 можно через 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туитивно-понятный </a:t>
            </a:r>
            <a:r>
              <a:rPr lang="en-US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eb-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терфейс</a:t>
            </a:r>
            <a:r>
              <a:rPr lang="ru-RU" sz="1100" b="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без установки дополнительных программ. 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операции</a:t>
            </a:r>
            <a:r>
              <a:rPr lang="ru-RU" sz="1100" b="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от описания товаров и заказа кодов, до отправки сведений о продаже 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жно выполнять в личном кабинете системы.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5E5F27AC-B305-A340-94D0-9B7E4B57C46D}"/>
              </a:ext>
            </a:extLst>
          </p:cNvPr>
          <p:cNvCxnSpPr>
            <a:cxnSpLocks/>
          </p:cNvCxnSpPr>
          <p:nvPr/>
        </p:nvCxnSpPr>
        <p:spPr>
          <a:xfrm>
            <a:off x="887444" y="5312679"/>
            <a:ext cx="924917" cy="0"/>
          </a:xfrm>
          <a:prstGeom prst="line">
            <a:avLst/>
          </a:prstGeom>
          <a:ln w="762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 descr="Изображение выглядит как часы&#10;&#10;Автоматически созданное описание">
            <a:extLst>
              <a:ext uri="{FF2B5EF4-FFF2-40B4-BE49-F238E27FC236}">
                <a16:creationId xmlns:a16="http://schemas.microsoft.com/office/drawing/2014/main" id="{704AC3A2-0162-4C41-ACC9-8B88E9C1E1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1115" y="4508805"/>
            <a:ext cx="941246" cy="711013"/>
          </a:xfrm>
          <a:prstGeom prst="rect">
            <a:avLst/>
          </a:prstGeom>
        </p:spPr>
      </p:pic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9332FE95-E8EF-0244-8B8D-4D6AA6433696}"/>
              </a:ext>
            </a:extLst>
          </p:cNvPr>
          <p:cNvGrpSpPr/>
          <p:nvPr/>
        </p:nvGrpSpPr>
        <p:grpSpPr>
          <a:xfrm>
            <a:off x="838681" y="2559344"/>
            <a:ext cx="5289885" cy="1578785"/>
            <a:chOff x="6600057" y="4775654"/>
            <a:chExt cx="5289885" cy="1578785"/>
          </a:xfrm>
        </p:grpSpPr>
        <p:sp>
          <p:nvSpPr>
            <p:cNvPr id="25" name="Заголовок 1">
              <a:extLst>
                <a:ext uri="{FF2B5EF4-FFF2-40B4-BE49-F238E27FC236}">
                  <a16:creationId xmlns:a16="http://schemas.microsoft.com/office/drawing/2014/main" id="{17A37FB2-C9AD-3143-B5D8-0C91FC3A4979}"/>
                </a:ext>
              </a:extLst>
            </p:cNvPr>
            <p:cNvSpPr txBox="1">
              <a:spLocks/>
            </p:cNvSpPr>
            <p:nvPr/>
          </p:nvSpPr>
          <p:spPr>
            <a:xfrm>
              <a:off x="6600057" y="5711094"/>
              <a:ext cx="5289885" cy="64334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839852">
                <a:lnSpc>
                  <a:spcPct val="100000"/>
                </a:lnSpc>
              </a:pPr>
              <a:r>
                <a:rPr lang="ru-RU" sz="1100" b="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истема максимально </a:t>
              </a:r>
              <a:r>
                <a:rPr lang="ru-RU" sz="11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спользует уже существующую цифровую инфраструктуру бизнеса и государства</a:t>
              </a:r>
              <a:r>
                <a:rPr lang="ru-RU" sz="1100" b="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: онлайн-кассы, электронная подпись и прочее.</a:t>
              </a:r>
              <a:endParaRPr lang="en-US" sz="1100" b="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F37B9423-9B47-0E49-BB0A-53EEA7B7B278}"/>
                </a:ext>
              </a:extLst>
            </p:cNvPr>
            <p:cNvCxnSpPr>
              <a:cxnSpLocks/>
            </p:cNvCxnSpPr>
            <p:nvPr/>
          </p:nvCxnSpPr>
          <p:spPr>
            <a:xfrm>
              <a:off x="6668351" y="5582678"/>
              <a:ext cx="941246" cy="0"/>
            </a:xfrm>
            <a:prstGeom prst="line">
              <a:avLst/>
            </a:prstGeom>
            <a:ln w="762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Рисунок 26" descr="Изображение выглядит как объек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30E40908-9271-1A48-8448-FE4F30FAB0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72264" y="4775654"/>
              <a:ext cx="937333" cy="708057"/>
            </a:xfrm>
            <a:prstGeom prst="rect">
              <a:avLst/>
            </a:prstGeom>
          </p:spPr>
        </p:pic>
      </p:grp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F8F17796-DD21-4142-A199-329A834A2FDC}"/>
              </a:ext>
            </a:extLst>
          </p:cNvPr>
          <p:cNvSpPr txBox="1">
            <a:spLocks/>
          </p:cNvSpPr>
          <p:nvPr/>
        </p:nvSpPr>
        <p:spPr>
          <a:xfrm>
            <a:off x="6668352" y="3523537"/>
            <a:ext cx="5289885" cy="83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ущена функция бесплатного электронного документооборота ЭДО </a:t>
            </a:r>
            <a:r>
              <a:rPr lang="ru-RU" sz="11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айт</a:t>
            </a:r>
            <a:r>
              <a:rPr lang="ru-RU" sz="1100" b="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в развитие концепции, что маркировка не должна требовать дополнительных платных продуктов. 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рвис бесплатный </a:t>
            </a:r>
            <a:r>
              <a:rPr lang="ru-RU" sz="1100" b="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решает насущную задачу малого бизнеса – передача товара между </a:t>
            </a:r>
            <a:r>
              <a:rPr lang="ru-RU" sz="1100" b="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юр.лицами</a:t>
            </a:r>
            <a:r>
              <a:rPr lang="ru-RU" sz="1100" b="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sz="1100" b="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62002286-EB01-F54A-B45B-0896589124DE}"/>
              </a:ext>
            </a:extLst>
          </p:cNvPr>
          <p:cNvCxnSpPr>
            <a:cxnSpLocks/>
          </p:cNvCxnSpPr>
          <p:nvPr/>
        </p:nvCxnSpPr>
        <p:spPr>
          <a:xfrm>
            <a:off x="6769949" y="3354742"/>
            <a:ext cx="867808" cy="0"/>
          </a:xfrm>
          <a:prstGeom prst="line">
            <a:avLst/>
          </a:prstGeom>
          <a:ln w="762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 descr="Изображение выглядит как часы&#10;&#10;Автоматически созданное описание">
            <a:extLst>
              <a:ext uri="{FF2B5EF4-FFF2-40B4-BE49-F238E27FC236}">
                <a16:creationId xmlns:a16="http://schemas.microsoft.com/office/drawing/2014/main" id="{8F00D5B2-A110-7646-881F-C59C67F35AD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73860" y="2599727"/>
            <a:ext cx="863897" cy="653090"/>
          </a:xfrm>
          <a:prstGeom prst="rect">
            <a:avLst/>
          </a:prstGeom>
        </p:spPr>
      </p:pic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C926C995-927D-6749-84E4-67958D423D96}"/>
              </a:ext>
            </a:extLst>
          </p:cNvPr>
          <p:cNvGrpSpPr/>
          <p:nvPr/>
        </p:nvGrpSpPr>
        <p:grpSpPr>
          <a:xfrm>
            <a:off x="6633514" y="4512532"/>
            <a:ext cx="4755666" cy="2072286"/>
            <a:chOff x="6600057" y="2515092"/>
            <a:chExt cx="4755666" cy="2072286"/>
          </a:xfrm>
        </p:grpSpPr>
        <p:sp>
          <p:nvSpPr>
            <p:cNvPr id="36" name="Заголовок 1">
              <a:extLst>
                <a:ext uri="{FF2B5EF4-FFF2-40B4-BE49-F238E27FC236}">
                  <a16:creationId xmlns:a16="http://schemas.microsoft.com/office/drawing/2014/main" id="{89D730C8-22AB-9343-88A0-56D4DD20C5A7}"/>
                </a:ext>
              </a:extLst>
            </p:cNvPr>
            <p:cNvSpPr txBox="1">
              <a:spLocks/>
            </p:cNvSpPr>
            <p:nvPr/>
          </p:nvSpPr>
          <p:spPr>
            <a:xfrm>
              <a:off x="6600057" y="3571332"/>
              <a:ext cx="4755666" cy="101604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839852">
                <a:lnSpc>
                  <a:spcPct val="100000"/>
                </a:lnSpc>
              </a:pPr>
              <a:r>
                <a:rPr lang="ru-RU" sz="11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Честный ЗНАК работает </a:t>
              </a:r>
              <a:r>
                <a:rPr lang="ru-RU" sz="1100" b="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там, где работает бизнес, </a:t>
              </a:r>
              <a:r>
                <a:rPr lang="ru-RU" sz="11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аже есть там нет интернета.</a:t>
              </a:r>
              <a:r>
                <a:rPr lang="ru-RU" sz="1100" b="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Для предпринимателей в труднодоступных районах без постоянного доступа к интернету был разработан </a:t>
              </a:r>
              <a:r>
                <a:rPr lang="ru-RU" sz="11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пециальный режим передачи данных</a:t>
              </a:r>
              <a:r>
                <a:rPr lang="ru-RU" sz="1100" b="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, когда сведения о продажах можно выгрузить в файл и загружать его в личный кабинет системы раз в 30 дней, по аналогии с онлайн-кассами.</a:t>
              </a:r>
              <a:endParaRPr lang="en-US" sz="1100" b="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516748A7-AAF4-7144-A21B-1564409183D6}"/>
                </a:ext>
              </a:extLst>
            </p:cNvPr>
            <p:cNvCxnSpPr>
              <a:cxnSpLocks/>
            </p:cNvCxnSpPr>
            <p:nvPr/>
          </p:nvCxnSpPr>
          <p:spPr>
            <a:xfrm>
              <a:off x="6668352" y="3331915"/>
              <a:ext cx="867808" cy="0"/>
            </a:xfrm>
            <a:prstGeom prst="line">
              <a:avLst/>
            </a:prstGeom>
            <a:ln w="762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Рисунок 37" descr="Изображение выглядит как игрушка, стол, удаленный, белый&#10;&#10;Автоматически созданное описание">
              <a:extLst>
                <a:ext uri="{FF2B5EF4-FFF2-40B4-BE49-F238E27FC236}">
                  <a16:creationId xmlns:a16="http://schemas.microsoft.com/office/drawing/2014/main" id="{902094EB-10B5-D94E-8521-D5FBF75FB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672263" y="2515092"/>
              <a:ext cx="937336" cy="732826"/>
            </a:xfrm>
            <a:prstGeom prst="rect">
              <a:avLst/>
            </a:prstGeom>
          </p:spPr>
        </p:pic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DC2F49DF-5FC0-4982-968C-1692F041B69B}"/>
              </a:ext>
            </a:extLst>
          </p:cNvPr>
          <p:cNvGrpSpPr/>
          <p:nvPr/>
        </p:nvGrpSpPr>
        <p:grpSpPr>
          <a:xfrm>
            <a:off x="6701809" y="747055"/>
            <a:ext cx="5289885" cy="1528417"/>
            <a:chOff x="738636" y="1031468"/>
            <a:chExt cx="5289885" cy="1528417"/>
          </a:xfrm>
        </p:grpSpPr>
        <p:sp>
          <p:nvSpPr>
            <p:cNvPr id="40" name="Заголовок 1">
              <a:extLst>
                <a:ext uri="{FF2B5EF4-FFF2-40B4-BE49-F238E27FC236}">
                  <a16:creationId xmlns:a16="http://schemas.microsoft.com/office/drawing/2014/main" id="{0FC1ED14-CB45-4825-9BD1-E0768DDA5B51}"/>
                </a:ext>
              </a:extLst>
            </p:cNvPr>
            <p:cNvSpPr txBox="1">
              <a:spLocks/>
            </p:cNvSpPr>
            <p:nvPr/>
          </p:nvSpPr>
          <p:spPr>
            <a:xfrm>
              <a:off x="738636" y="1762671"/>
              <a:ext cx="5289885" cy="79721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1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839852">
                <a:lnSpc>
                  <a:spcPct val="100000"/>
                </a:lnSpc>
              </a:pPr>
              <a:r>
                <a:rPr lang="ru-RU" sz="11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Льготный тариф для вступления в </a:t>
              </a:r>
              <a:r>
                <a:rPr lang="en-US" sz="11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GS1 </a:t>
              </a:r>
              <a:r>
                <a:rPr lang="ru-RU" sz="11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ус – 3 000 рублей</a:t>
              </a:r>
              <a:endParaRPr lang="en-US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DD6D1E05-F436-4DC5-9758-57AF65962AC1}"/>
                </a:ext>
              </a:extLst>
            </p:cNvPr>
            <p:cNvCxnSpPr>
              <a:cxnSpLocks/>
            </p:cNvCxnSpPr>
            <p:nvPr/>
          </p:nvCxnSpPr>
          <p:spPr>
            <a:xfrm>
              <a:off x="811591" y="1858676"/>
              <a:ext cx="851243" cy="0"/>
            </a:xfrm>
            <a:prstGeom prst="line">
              <a:avLst/>
            </a:prstGeom>
            <a:ln w="762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Рисунок 41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B77BC748-9DF1-46EE-9E41-685E87837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12720" y="1031468"/>
              <a:ext cx="850114" cy="7179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888879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A0591A50-EE7D-A440-8E58-EF9140F1D4E6}"/>
              </a:ext>
            </a:extLst>
          </p:cNvPr>
          <p:cNvSpPr/>
          <p:nvPr/>
        </p:nvSpPr>
        <p:spPr>
          <a:xfrm>
            <a:off x="676800" y="360000"/>
            <a:ext cx="4899752" cy="117258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новные вопросы</a:t>
            </a:r>
          </a:p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ответы по маркировке</a:t>
            </a:r>
            <a:endParaRPr lang="en-US" sz="2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11D6F2-E2B2-BE4B-9CB1-9B6F55801487}"/>
              </a:ext>
            </a:extLst>
          </p:cNvPr>
          <p:cNvSpPr txBox="1"/>
          <p:nvPr/>
        </p:nvSpPr>
        <p:spPr>
          <a:xfrm>
            <a:off x="6833061" y="2173531"/>
            <a:ext cx="4998719" cy="376000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Куда наносить коды маркировки </a:t>
            </a:r>
            <a:endParaRPr lang="en-US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indent="-252000" fontAlgn="base"/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(обувь, </a:t>
            </a:r>
            <a:r>
              <a:rPr lang="ru-RU" b="1" dirty="0" err="1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легпром</a:t>
            </a: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)</a:t>
            </a:r>
          </a:p>
          <a:p>
            <a:pPr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Что такое комплекты и наборы в </a:t>
            </a:r>
            <a:r>
              <a:rPr lang="ru-RU" b="1" dirty="0" err="1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легпроме</a:t>
            </a: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?</a:t>
            </a:r>
          </a:p>
          <a:p>
            <a:pPr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Импорт маркированных товаров </a:t>
            </a:r>
            <a:endParaRPr lang="en-US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indent="-252000" fontAlgn="base"/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с 1 июля 2020 года</a:t>
            </a:r>
          </a:p>
          <a:p>
            <a:pPr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ЭДО</a:t>
            </a:r>
          </a:p>
          <a:p>
            <a:pPr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Интернет-торговля</a:t>
            </a:r>
          </a:p>
          <a:p>
            <a:pPr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Возвраты и </a:t>
            </a:r>
            <a:r>
              <a:rPr lang="ru-RU" b="1" dirty="0" err="1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перемаркировка</a:t>
            </a:r>
            <a:endParaRPr lang="ru-RU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Вывод из оборота</a:t>
            </a:r>
          </a:p>
          <a:p>
            <a:pPr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Технические вопросы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D45AC2-FF4D-4249-BBED-7CD22FD3EE95}"/>
              </a:ext>
            </a:extLst>
          </p:cNvPr>
          <p:cNvSpPr txBox="1"/>
          <p:nvPr/>
        </p:nvSpPr>
        <p:spPr>
          <a:xfrm>
            <a:off x="919942" y="2173531"/>
            <a:ext cx="5392188" cy="388824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252000"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Сроки маркировки – будет ли перенос?</a:t>
            </a:r>
          </a:p>
          <a:p>
            <a:pPr marL="82800" indent="-252000" fontAlgn="base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рожная карта обувь</a:t>
            </a:r>
          </a:p>
          <a:p>
            <a:pPr marL="82800" indent="-252000" fontAlgn="base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рожная карта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гпром</a:t>
            </a: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52000"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Какие товары нужно маркировать в обуви</a:t>
            </a:r>
          </a:p>
          <a:p>
            <a:pPr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Какие товары нужно маркировать в легкой промышленности</a:t>
            </a:r>
          </a:p>
          <a:p>
            <a:pPr marL="252000"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Маркировка остатков обувь</a:t>
            </a:r>
            <a:endParaRPr lang="en-US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marL="82800" indent="-252000" fontAlgn="base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трибуты для получения КМ</a:t>
            </a:r>
          </a:p>
          <a:p>
            <a:pPr marL="252000" indent="-252000" fontAlgn="base">
              <a:spcBef>
                <a:spcPts val="1000"/>
              </a:spcBef>
            </a:pPr>
            <a:r>
              <a:rPr lang="ru-RU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Маркировка остатков </a:t>
            </a:r>
            <a:r>
              <a:rPr lang="ru-RU" b="1" dirty="0" err="1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легпром</a:t>
            </a:r>
            <a:endParaRPr lang="en-US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marL="82800" indent="-252000" fontAlgn="base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трибуты для получения КМ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68C1E9D9-D841-EF43-AC60-435D2EA2C316}"/>
              </a:ext>
            </a:extLst>
          </p:cNvPr>
          <p:cNvSpPr/>
          <p:nvPr/>
        </p:nvSpPr>
        <p:spPr>
          <a:xfrm>
            <a:off x="559942" y="2173531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607993EC-7A93-D04B-9C1D-D56586B59621}"/>
              </a:ext>
            </a:extLst>
          </p:cNvPr>
          <p:cNvSpPr/>
          <p:nvPr/>
        </p:nvSpPr>
        <p:spPr>
          <a:xfrm>
            <a:off x="6473061" y="2173531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980023C7-70FC-EC48-B647-44F4D76757A3}"/>
              </a:ext>
            </a:extLst>
          </p:cNvPr>
          <p:cNvSpPr/>
          <p:nvPr/>
        </p:nvSpPr>
        <p:spPr>
          <a:xfrm>
            <a:off x="6473061" y="2866431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A7F5546-CF86-2741-923C-FCCAF56EBAB0}"/>
              </a:ext>
            </a:extLst>
          </p:cNvPr>
          <p:cNvSpPr/>
          <p:nvPr/>
        </p:nvSpPr>
        <p:spPr>
          <a:xfrm>
            <a:off x="6473061" y="3259227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CA38CE7E-6252-0846-B865-F9154C095ADC}"/>
              </a:ext>
            </a:extLst>
          </p:cNvPr>
          <p:cNvSpPr/>
          <p:nvPr/>
        </p:nvSpPr>
        <p:spPr>
          <a:xfrm>
            <a:off x="6473061" y="3933783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9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2FB57BB2-CCFB-D245-82C5-472685BBD514}"/>
              </a:ext>
            </a:extLst>
          </p:cNvPr>
          <p:cNvSpPr/>
          <p:nvPr/>
        </p:nvSpPr>
        <p:spPr>
          <a:xfrm>
            <a:off x="6473061" y="4347440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1426386B-261B-304F-980B-129B3A370DA8}"/>
              </a:ext>
            </a:extLst>
          </p:cNvPr>
          <p:cNvSpPr/>
          <p:nvPr/>
        </p:nvSpPr>
        <p:spPr>
          <a:xfrm>
            <a:off x="6473061" y="4753659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1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C9F8ECDE-37BF-AC42-8CB9-0E7D37FBD42D}"/>
              </a:ext>
            </a:extLst>
          </p:cNvPr>
          <p:cNvSpPr/>
          <p:nvPr/>
        </p:nvSpPr>
        <p:spPr>
          <a:xfrm>
            <a:off x="6473061" y="5151373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9525831-3E1D-4046-805C-387305620366}"/>
              </a:ext>
            </a:extLst>
          </p:cNvPr>
          <p:cNvSpPr/>
          <p:nvPr/>
        </p:nvSpPr>
        <p:spPr>
          <a:xfrm>
            <a:off x="6473061" y="5550115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3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FCD7EE58-7FE0-CD49-95CE-718AE6EC37FD}"/>
              </a:ext>
            </a:extLst>
          </p:cNvPr>
          <p:cNvSpPr/>
          <p:nvPr/>
        </p:nvSpPr>
        <p:spPr>
          <a:xfrm>
            <a:off x="559942" y="3399471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2B28592A-DD21-6B44-BA4F-07174A200841}"/>
              </a:ext>
            </a:extLst>
          </p:cNvPr>
          <p:cNvSpPr/>
          <p:nvPr/>
        </p:nvSpPr>
        <p:spPr>
          <a:xfrm>
            <a:off x="559942" y="3873533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95F897FB-6016-BB47-8DD1-F4E1240B64E8}"/>
              </a:ext>
            </a:extLst>
          </p:cNvPr>
          <p:cNvSpPr/>
          <p:nvPr/>
        </p:nvSpPr>
        <p:spPr>
          <a:xfrm>
            <a:off x="559942" y="4472248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A9447249-FC53-6346-B551-1B1A8FA915A6}"/>
              </a:ext>
            </a:extLst>
          </p:cNvPr>
          <p:cNvSpPr/>
          <p:nvPr/>
        </p:nvSpPr>
        <p:spPr>
          <a:xfrm>
            <a:off x="559942" y="5266907"/>
            <a:ext cx="360000" cy="360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71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FCB3B52-1DEC-4006-AF31-033E74C92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84D06FFA-FB1F-314A-A766-4637E581A795}"/>
              </a:ext>
            </a:extLst>
          </p:cNvPr>
          <p:cNvSpPr/>
          <p:nvPr/>
        </p:nvSpPr>
        <p:spPr>
          <a:xfrm>
            <a:off x="676800" y="360000"/>
            <a:ext cx="10734912" cy="74946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обуви</a:t>
            </a:r>
          </a:p>
        </p:txBody>
      </p:sp>
      <p:sp>
        <p:nvSpPr>
          <p:cNvPr id="22" name="Скругленный прямоугольник 131">
            <a:extLst>
              <a:ext uri="{FF2B5EF4-FFF2-40B4-BE49-F238E27FC236}">
                <a16:creationId xmlns:a16="http://schemas.microsoft.com/office/drawing/2014/main" id="{00449889-63C6-D849-8A5F-3942CA201039}"/>
              </a:ext>
            </a:extLst>
          </p:cNvPr>
          <p:cNvSpPr/>
          <p:nvPr/>
        </p:nvSpPr>
        <p:spPr>
          <a:xfrm>
            <a:off x="1067306" y="2128752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июля 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20 года</a:t>
            </a:r>
          </a:p>
        </p:txBody>
      </p:sp>
      <p:sp>
        <p:nvSpPr>
          <p:cNvPr id="23" name="Скругленный прямоугольник 131">
            <a:extLst>
              <a:ext uri="{FF2B5EF4-FFF2-40B4-BE49-F238E27FC236}">
                <a16:creationId xmlns:a16="http://schemas.microsoft.com/office/drawing/2014/main" id="{0A499272-6EFD-0642-8F1F-C3CA5C43A01E}"/>
              </a:ext>
            </a:extLst>
          </p:cNvPr>
          <p:cNvSpPr/>
          <p:nvPr/>
        </p:nvSpPr>
        <p:spPr>
          <a:xfrm>
            <a:off x="4663284" y="2128752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августа </a:t>
            </a:r>
          </a:p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20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года</a:t>
            </a:r>
          </a:p>
        </p:txBody>
      </p:sp>
      <p:cxnSp>
        <p:nvCxnSpPr>
          <p:cNvPr id="24" name="Straight Connector 22">
            <a:extLst>
              <a:ext uri="{FF2B5EF4-FFF2-40B4-BE49-F238E27FC236}">
                <a16:creationId xmlns:a16="http://schemas.microsoft.com/office/drawing/2014/main" id="{BE60413E-C426-8548-91C0-4CBDE6F4208F}"/>
              </a:ext>
            </a:extLst>
          </p:cNvPr>
          <p:cNvCxnSpPr>
            <a:cxnSpLocks/>
          </p:cNvCxnSpPr>
          <p:nvPr/>
        </p:nvCxnSpPr>
        <p:spPr>
          <a:xfrm>
            <a:off x="1067306" y="3362279"/>
            <a:ext cx="10027414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5">
            <a:extLst>
              <a:ext uri="{FF2B5EF4-FFF2-40B4-BE49-F238E27FC236}">
                <a16:creationId xmlns:a16="http://schemas.microsoft.com/office/drawing/2014/main" id="{8B73F7D3-F75C-E448-BC0A-66A3A5721160}"/>
              </a:ext>
            </a:extLst>
          </p:cNvPr>
          <p:cNvCxnSpPr>
            <a:cxnSpLocks/>
          </p:cNvCxnSpPr>
          <p:nvPr/>
        </p:nvCxnSpPr>
        <p:spPr>
          <a:xfrm>
            <a:off x="5523344" y="2733234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4">
            <a:extLst>
              <a:ext uri="{FF2B5EF4-FFF2-40B4-BE49-F238E27FC236}">
                <a16:creationId xmlns:a16="http://schemas.microsoft.com/office/drawing/2014/main" id="{C69DC418-B8E2-7C4E-B2A4-61E9D4FC2915}"/>
              </a:ext>
            </a:extLst>
          </p:cNvPr>
          <p:cNvCxnSpPr>
            <a:cxnSpLocks/>
          </p:cNvCxnSpPr>
          <p:nvPr/>
        </p:nvCxnSpPr>
        <p:spPr>
          <a:xfrm>
            <a:off x="1927366" y="2733234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bject 10">
            <a:extLst>
              <a:ext uri="{FF2B5EF4-FFF2-40B4-BE49-F238E27FC236}">
                <a16:creationId xmlns:a16="http://schemas.microsoft.com/office/drawing/2014/main" id="{28ACABB9-83BC-3C4B-8F52-3D432A2D008E}"/>
              </a:ext>
            </a:extLst>
          </p:cNvPr>
          <p:cNvSpPr txBox="1"/>
          <p:nvPr/>
        </p:nvSpPr>
        <p:spPr>
          <a:xfrm>
            <a:off x="4791888" y="3742639"/>
            <a:ext cx="2925650" cy="8733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Импорт товаров приобретенных </a:t>
            </a:r>
            <a:b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</a:br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до 1 июля 2020 года возможен без маркировки до 1 августа 2020 года</a:t>
            </a:r>
            <a:endParaRPr lang="en-US" sz="1400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8" name="object 10">
            <a:extLst>
              <a:ext uri="{FF2B5EF4-FFF2-40B4-BE49-F238E27FC236}">
                <a16:creationId xmlns:a16="http://schemas.microsoft.com/office/drawing/2014/main" id="{12E4C22C-0122-CF4F-B2CA-A5F9BE80742D}"/>
              </a:ext>
            </a:extLst>
          </p:cNvPr>
          <p:cNvSpPr txBox="1"/>
          <p:nvPr/>
        </p:nvSpPr>
        <p:spPr>
          <a:xfrm>
            <a:off x="1067306" y="3742639"/>
            <a:ext cx="3138934" cy="25968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Производство и импорт обуви</a:t>
            </a:r>
            <a:endParaRPr lang="en-US" sz="1400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без маркировки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рещен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Оптовая и розничная продажа немаркированной обуви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рещена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Передача сведений </a:t>
            </a:r>
            <a:b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</a:br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о производстве, импорте, оптовой</a:t>
            </a:r>
            <a:endParaRPr lang="en-US" sz="1400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и розничной продаже в систему маркировки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Скругленный прямоугольник 131">
            <a:extLst>
              <a:ext uri="{FF2B5EF4-FFF2-40B4-BE49-F238E27FC236}">
                <a16:creationId xmlns:a16="http://schemas.microsoft.com/office/drawing/2014/main" id="{1394F8DF-DE50-2C4A-ACC8-981BB5D2B4F1}"/>
              </a:ext>
            </a:extLst>
          </p:cNvPr>
          <p:cNvSpPr/>
          <p:nvPr/>
        </p:nvSpPr>
        <p:spPr>
          <a:xfrm>
            <a:off x="8191236" y="2128752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сентября 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2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да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A169270-B354-7E4F-8454-7A4FEC7A6949}"/>
              </a:ext>
            </a:extLst>
          </p:cNvPr>
          <p:cNvSpPr/>
          <p:nvPr/>
        </p:nvSpPr>
        <p:spPr>
          <a:xfrm>
            <a:off x="8191236" y="3742266"/>
            <a:ext cx="305267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Маркировка остатков обуви произведенных или приобретенных до 1 июля 2020 года возможна </a:t>
            </a:r>
            <a:b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</a:br>
            <a:r>
              <a:rPr lang="ru-RU" sz="1400" b="1" dirty="0">
                <a:solidFill>
                  <a:srgbClr val="6D6E71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до 1 сентября 2020 года</a:t>
            </a:r>
            <a:endParaRPr lang="en-US" sz="1400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B44EC531-3831-7446-A26A-4AEB2ABFD232}"/>
              </a:ext>
            </a:extLst>
          </p:cNvPr>
          <p:cNvCxnSpPr>
            <a:cxnSpLocks/>
          </p:cNvCxnSpPr>
          <p:nvPr/>
        </p:nvCxnSpPr>
        <p:spPr>
          <a:xfrm>
            <a:off x="9051296" y="2733234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5BAB365-D6B6-9043-B57D-D931672F64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43344" y="3177683"/>
            <a:ext cx="360000" cy="360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4BF68E25-218D-5A4F-919A-0AD3EBEB65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72877" y="3177683"/>
            <a:ext cx="360000" cy="360000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F970A118-EFFB-AA4D-A290-BCB2787257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5786" y="3177683"/>
            <a:ext cx="360000" cy="360000"/>
          </a:xfrm>
          <a:prstGeom prst="rect">
            <a:avLst/>
          </a:prstGeom>
        </p:spPr>
      </p:pic>
      <p:sp>
        <p:nvSpPr>
          <p:cNvPr id="46" name="Скругленный прямоугольник 131">
            <a:extLst>
              <a:ext uri="{FF2B5EF4-FFF2-40B4-BE49-F238E27FC236}">
                <a16:creationId xmlns:a16="http://schemas.microsoft.com/office/drawing/2014/main" id="{2BAF31D0-F30E-BD47-ACBB-97BCB819E99F}"/>
              </a:ext>
            </a:extLst>
          </p:cNvPr>
          <p:cNvSpPr/>
          <p:nvPr/>
        </p:nvSpPr>
        <p:spPr>
          <a:xfrm>
            <a:off x="4796720" y="5016287"/>
            <a:ext cx="2920818" cy="873316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маркировать такие товары необходимо строго </a:t>
            </a:r>
            <a:b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 1 августа 2020 года</a:t>
            </a:r>
            <a:endParaRPr lang="en-US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026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0AD5035-92CD-3741-9190-9560E878540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9777" y="0"/>
            <a:ext cx="5888990" cy="6858000"/>
          </a:xfrm>
          <a:prstGeom prst="rect">
            <a:avLst/>
          </a:prstGeom>
        </p:spPr>
      </p:pic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FCB3B52-1DEC-4006-AF31-033E74C92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70A63314-EDBE-DE48-AD43-4E057BFA4533}"/>
              </a:ext>
            </a:extLst>
          </p:cNvPr>
          <p:cNvSpPr/>
          <p:nvPr/>
        </p:nvSpPr>
        <p:spPr>
          <a:xfrm>
            <a:off x="676800" y="360000"/>
            <a:ext cx="7357728" cy="9567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гкой промышленности</a:t>
            </a:r>
          </a:p>
        </p:txBody>
      </p:sp>
      <p:sp>
        <p:nvSpPr>
          <p:cNvPr id="57" name="Скругленный прямоугольник 131">
            <a:extLst>
              <a:ext uri="{FF2B5EF4-FFF2-40B4-BE49-F238E27FC236}">
                <a16:creationId xmlns:a16="http://schemas.microsoft.com/office/drawing/2014/main" id="{DDE3091E-EE57-084B-8F95-4024247C07C4}"/>
              </a:ext>
            </a:extLst>
          </p:cNvPr>
          <p:cNvSpPr/>
          <p:nvPr/>
        </p:nvSpPr>
        <p:spPr>
          <a:xfrm>
            <a:off x="835658" y="2647248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5253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января</a:t>
            </a:r>
            <a:b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21 года</a:t>
            </a:r>
          </a:p>
        </p:txBody>
      </p:sp>
      <p:sp>
        <p:nvSpPr>
          <p:cNvPr id="58" name="Скругленный прямоугольник 131">
            <a:extLst>
              <a:ext uri="{FF2B5EF4-FFF2-40B4-BE49-F238E27FC236}">
                <a16:creationId xmlns:a16="http://schemas.microsoft.com/office/drawing/2014/main" id="{662CCBFA-2561-444B-8054-D537C66FFB81}"/>
              </a:ext>
            </a:extLst>
          </p:cNvPr>
          <p:cNvSpPr/>
          <p:nvPr/>
        </p:nvSpPr>
        <p:spPr>
          <a:xfrm>
            <a:off x="4992164" y="2647248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5253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февраля </a:t>
            </a:r>
            <a:b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21 года</a:t>
            </a:r>
          </a:p>
        </p:txBody>
      </p:sp>
      <p:cxnSp>
        <p:nvCxnSpPr>
          <p:cNvPr id="59" name="Straight Connector 22">
            <a:extLst>
              <a:ext uri="{FF2B5EF4-FFF2-40B4-BE49-F238E27FC236}">
                <a16:creationId xmlns:a16="http://schemas.microsoft.com/office/drawing/2014/main" id="{EC7AD0DB-C394-3041-879D-DC6157D71AC5}"/>
              </a:ext>
            </a:extLst>
          </p:cNvPr>
          <p:cNvCxnSpPr>
            <a:cxnSpLocks/>
          </p:cNvCxnSpPr>
          <p:nvPr/>
        </p:nvCxnSpPr>
        <p:spPr>
          <a:xfrm>
            <a:off x="835658" y="3880775"/>
            <a:ext cx="7150102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35">
            <a:extLst>
              <a:ext uri="{FF2B5EF4-FFF2-40B4-BE49-F238E27FC236}">
                <a16:creationId xmlns:a16="http://schemas.microsoft.com/office/drawing/2014/main" id="{E0C480AB-DEA4-644A-94DB-23C1CCC4F01A}"/>
              </a:ext>
            </a:extLst>
          </p:cNvPr>
          <p:cNvCxnSpPr>
            <a:cxnSpLocks/>
          </p:cNvCxnSpPr>
          <p:nvPr/>
        </p:nvCxnSpPr>
        <p:spPr>
          <a:xfrm>
            <a:off x="5852224" y="3251730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44">
            <a:extLst>
              <a:ext uri="{FF2B5EF4-FFF2-40B4-BE49-F238E27FC236}">
                <a16:creationId xmlns:a16="http://schemas.microsoft.com/office/drawing/2014/main" id="{644B4C5F-8CA9-4542-85D9-77852AD4CCAF}"/>
              </a:ext>
            </a:extLst>
          </p:cNvPr>
          <p:cNvCxnSpPr>
            <a:cxnSpLocks/>
          </p:cNvCxnSpPr>
          <p:nvPr/>
        </p:nvCxnSpPr>
        <p:spPr>
          <a:xfrm>
            <a:off x="1695718" y="3251730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bject 10">
            <a:extLst>
              <a:ext uri="{FF2B5EF4-FFF2-40B4-BE49-F238E27FC236}">
                <a16:creationId xmlns:a16="http://schemas.microsoft.com/office/drawing/2014/main" id="{69AC6D66-EC39-9D42-8A8D-018C91F16B8D}"/>
              </a:ext>
            </a:extLst>
          </p:cNvPr>
          <p:cNvSpPr txBox="1"/>
          <p:nvPr/>
        </p:nvSpPr>
        <p:spPr>
          <a:xfrm>
            <a:off x="4992164" y="4261135"/>
            <a:ext cx="3139900" cy="8733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остатков товаров произведенных или приобретенных до 1 января 2021 года возможна </a:t>
            </a:r>
            <a:b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 1 февраля 2021 года</a:t>
            </a:r>
            <a:endParaRPr lang="en-US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3" name="object 10">
            <a:extLst>
              <a:ext uri="{FF2B5EF4-FFF2-40B4-BE49-F238E27FC236}">
                <a16:creationId xmlns:a16="http://schemas.microsoft.com/office/drawing/2014/main" id="{B3AD2A31-2B56-1E44-A9BC-442EC6BDBA64}"/>
              </a:ext>
            </a:extLst>
          </p:cNvPr>
          <p:cNvSpPr txBox="1"/>
          <p:nvPr/>
        </p:nvSpPr>
        <p:spPr>
          <a:xfrm>
            <a:off x="835658" y="4261135"/>
            <a:ext cx="3729414" cy="25968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Производство и импорт товаров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без маркировки запрещен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Оптовая и розничная продажа немаркированного товара запрещена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Передача сведений </a:t>
            </a:r>
            <a:b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о производстве, импорте, оптовой 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и розничной продаже в систему маркировки обязательна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pic>
        <p:nvPicPr>
          <p:cNvPr id="67" name="Рисунок 66">
            <a:extLst>
              <a:ext uri="{FF2B5EF4-FFF2-40B4-BE49-F238E27FC236}">
                <a16:creationId xmlns:a16="http://schemas.microsoft.com/office/drawing/2014/main" id="{3497D69C-422D-A542-8E99-FF25D3AFF5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2224" y="3696179"/>
            <a:ext cx="360000" cy="360000"/>
          </a:xfrm>
          <a:prstGeom prst="rect">
            <a:avLst/>
          </a:prstGeom>
        </p:spPr>
      </p:pic>
      <p:pic>
        <p:nvPicPr>
          <p:cNvPr id="69" name="Рисунок 68">
            <a:extLst>
              <a:ext uri="{FF2B5EF4-FFF2-40B4-BE49-F238E27FC236}">
                <a16:creationId xmlns:a16="http://schemas.microsoft.com/office/drawing/2014/main" id="{0661841A-1249-8E4C-A9DE-9FEBCCFB24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14138" y="3696179"/>
            <a:ext cx="360000" cy="36000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8C04BEB-EC5D-4645-B412-7FA52426BECC}"/>
              </a:ext>
            </a:extLst>
          </p:cNvPr>
          <p:cNvSpPr/>
          <p:nvPr/>
        </p:nvSpPr>
        <p:spPr>
          <a:xfrm>
            <a:off x="835658" y="1719531"/>
            <a:ext cx="5711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1" spc="5" dirty="0">
                <a:solidFill>
                  <a:srgbClr val="6D6E71"/>
                </a:solidFill>
                <a:latin typeface="Segoe UI Semibold" panose="020B0502040204020203" pitchFamily="34" charset="0"/>
                <a:ea typeface="PT Sans Caption" panose="020B0603020203020204" pitchFamily="34" charset="-52"/>
                <a:cs typeface="Segoe UI Semibold" panose="020B0502040204020203" pitchFamily="34" charset="0"/>
              </a:rPr>
              <a:t>Постановление правительства № 1956</a:t>
            </a:r>
            <a:r>
              <a:rPr lang="en-US" sz="1400" b="1" spc="5" dirty="0">
                <a:solidFill>
                  <a:srgbClr val="6D6E71"/>
                </a:solidFill>
                <a:latin typeface="Segoe UI Semibold" panose="020B0502040204020203" pitchFamily="34" charset="0"/>
                <a:ea typeface="PT Sans Caption" panose="020B0603020203020204" pitchFamily="34" charset="-52"/>
                <a:cs typeface="Segoe UI Semibold" panose="020B0502040204020203" pitchFamily="34" charset="0"/>
              </a:rPr>
              <a:t> </a:t>
            </a:r>
            <a:r>
              <a:rPr lang="ru-RU" sz="1400" b="1" spc="5" dirty="0">
                <a:solidFill>
                  <a:srgbClr val="6D6E71"/>
                </a:solidFill>
                <a:latin typeface="Segoe UI Semibold" panose="020B0502040204020203" pitchFamily="34" charset="0"/>
                <a:ea typeface="PT Sans Caption" panose="020B0603020203020204" pitchFamily="34" charset="-52"/>
                <a:cs typeface="Segoe UI Semibold" panose="020B0502040204020203" pitchFamily="34" charset="0"/>
              </a:rPr>
              <a:t>от 31 декабря 2019 года</a:t>
            </a:r>
            <a:endParaRPr lang="ru-RU" sz="1400" b="1" dirty="0">
              <a:solidFill>
                <a:srgbClr val="6D6E71"/>
              </a:solidFill>
              <a:latin typeface="Segoe UI Semibold" panose="020B0502040204020203" pitchFamily="34" charset="0"/>
              <a:ea typeface="PT Sans Caption" panose="020B0603020203020204" pitchFamily="34" charset="-52"/>
              <a:cs typeface="Segoe UI Semibol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6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A4C4CAA-FBAA-C045-84AB-BA9D27AE9AE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7689273" cy="68580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A0ED554-B190-474C-B804-D29744816C3D}"/>
              </a:ext>
            </a:extLst>
          </p:cNvPr>
          <p:cNvSpPr/>
          <p:nvPr/>
        </p:nvSpPr>
        <p:spPr>
          <a:xfrm>
            <a:off x="6094240" y="2863564"/>
            <a:ext cx="589201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нос сроков вступления в силу требований </a:t>
            </a: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 обязательной маркировке влечет девальвацию инвестиций добросовестных участников оборота</a:t>
            </a: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воевременную подготовку к введению таких требований и настройку собственных учетных систем, а также адаптацию технических </a:t>
            </a: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бизнес-процессов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9324B354-E91B-A048-A62D-4BA45010F9D9}"/>
              </a:ext>
            </a:extLst>
          </p:cNvPr>
          <p:cNvSpPr/>
          <p:nvPr/>
        </p:nvSpPr>
        <p:spPr>
          <a:xfrm>
            <a:off x="6096000" y="360000"/>
            <a:ext cx="5419200" cy="107256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мена или перенос сроков</a:t>
            </a:r>
          </a:p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ой маркировки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1193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 descr="Изображение выглядит как электроника&#10;&#10;Автоматически созданное описание">
            <a:extLst>
              <a:ext uri="{FF2B5EF4-FFF2-40B4-BE49-F238E27FC236}">
                <a16:creationId xmlns:a16="http://schemas.microsoft.com/office/drawing/2014/main" id="{CAD28EF2-1F56-244B-8D52-F2C4CF7D4D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2598" y="0"/>
            <a:ext cx="5499393" cy="68580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A0ED554-B190-474C-B804-D29744816C3D}"/>
              </a:ext>
            </a:extLst>
          </p:cNvPr>
          <p:cNvSpPr/>
          <p:nvPr/>
        </p:nvSpPr>
        <p:spPr>
          <a:xfrm>
            <a:off x="675039" y="2279377"/>
            <a:ext cx="5725761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 соответствии с 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новлением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авительства Российской Федерации от 05.07.2019 г. № 860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маркировке подлежат обувные товары согласно кодам товарной номенклатуры:</a:t>
            </a:r>
            <a:b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b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Н ВЭД ЕАЭС: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40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402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403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404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405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72CC1A99-0D6B-E048-AB10-6AFA52B35973}"/>
              </a:ext>
            </a:extLst>
          </p:cNvPr>
          <p:cNvSpPr/>
          <p:nvPr/>
        </p:nvSpPr>
        <p:spPr>
          <a:xfrm>
            <a:off x="676800" y="360000"/>
            <a:ext cx="5724000" cy="95291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ие обувные товары</a:t>
            </a:r>
          </a:p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обходимо маркировать?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A204EB1-5A49-A648-974B-C7A34407E465}"/>
              </a:ext>
            </a:extLst>
          </p:cNvPr>
          <p:cNvSpPr/>
          <p:nvPr/>
        </p:nvSpPr>
        <p:spPr>
          <a:xfrm>
            <a:off x="2897839" y="3650917"/>
            <a:ext cx="286288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КПД2: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20.1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20.12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20.13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20.14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20.21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313A28D-EEB4-5D42-8D76-9206C680D6B6}"/>
              </a:ext>
            </a:extLst>
          </p:cNvPr>
          <p:cNvSpPr/>
          <p:nvPr/>
        </p:nvSpPr>
        <p:spPr>
          <a:xfrm>
            <a:off x="4772359" y="3930638"/>
            <a:ext cx="162844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20.29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20.3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20.32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2.30.12</a:t>
            </a:r>
          </a:p>
        </p:txBody>
      </p:sp>
      <p:cxnSp>
        <p:nvCxnSpPr>
          <p:cNvPr id="13" name="Straight Connector 22">
            <a:extLst>
              <a:ext uri="{FF2B5EF4-FFF2-40B4-BE49-F238E27FC236}">
                <a16:creationId xmlns:a16="http://schemas.microsoft.com/office/drawing/2014/main" id="{984ECAA8-4F39-144B-8970-1E328B0789E4}"/>
              </a:ext>
            </a:extLst>
          </p:cNvPr>
          <p:cNvCxnSpPr>
            <a:cxnSpLocks/>
          </p:cNvCxnSpPr>
          <p:nvPr/>
        </p:nvCxnSpPr>
        <p:spPr>
          <a:xfrm>
            <a:off x="2606040" y="3650917"/>
            <a:ext cx="0" cy="1767781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815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Изображение выглядит как одежда, мужчина, человек, держит&#10;&#10;Автоматически созданное описание">
            <a:extLst>
              <a:ext uri="{FF2B5EF4-FFF2-40B4-BE49-F238E27FC236}">
                <a16:creationId xmlns:a16="http://schemas.microsoft.com/office/drawing/2014/main" id="{B0C075ED-1393-724A-82E4-464F102CFB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884887" cy="68580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A0ED554-B190-474C-B804-D29744816C3D}"/>
              </a:ext>
            </a:extLst>
          </p:cNvPr>
          <p:cNvSpPr/>
          <p:nvPr/>
        </p:nvSpPr>
        <p:spPr>
          <a:xfrm>
            <a:off x="5749316" y="1724858"/>
            <a:ext cx="57240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ие товары легкой промышленности подлежат маркировке?</a:t>
            </a:r>
          </a:p>
          <a:p>
            <a:pPr fontAlgn="base"/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 соответствии с 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новлением Правительства Российской Федерации от 31.12.2019 г. № 1956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маркировке подлежат изделия легкой промышленности согласно кодам товарной номенклатуры:</a:t>
            </a:r>
            <a:b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b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Н ВЭД ЕАЭС: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203 10 000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106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20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202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302</a:t>
            </a: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D352BC5D-7A83-654B-8B4B-44EA2333315A}"/>
              </a:ext>
            </a:extLst>
          </p:cNvPr>
          <p:cNvSpPr/>
          <p:nvPr/>
        </p:nvSpPr>
        <p:spPr>
          <a:xfrm>
            <a:off x="5749315" y="360000"/>
            <a:ext cx="5724000" cy="95291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необходимо маркировать</a:t>
            </a:r>
          </a:p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легкой промышленности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82F7A32-BE38-634B-BAC3-642B2DFB8471}"/>
              </a:ext>
            </a:extLst>
          </p:cNvPr>
          <p:cNvSpPr/>
          <p:nvPr/>
        </p:nvSpPr>
        <p:spPr>
          <a:xfrm>
            <a:off x="8308276" y="4193738"/>
            <a:ext cx="161231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КПД2: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4.11.10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4.14.13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4.13.2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4.13.2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3.92.12</a:t>
            </a:r>
          </a:p>
        </p:txBody>
      </p:sp>
      <p:cxnSp>
        <p:nvCxnSpPr>
          <p:cNvPr id="12" name="Straight Connector 22">
            <a:extLst>
              <a:ext uri="{FF2B5EF4-FFF2-40B4-BE49-F238E27FC236}">
                <a16:creationId xmlns:a16="http://schemas.microsoft.com/office/drawing/2014/main" id="{45DAE9C4-A763-D349-BE46-95AF7F9782A4}"/>
              </a:ext>
            </a:extLst>
          </p:cNvPr>
          <p:cNvCxnSpPr>
            <a:cxnSpLocks/>
          </p:cNvCxnSpPr>
          <p:nvPr/>
        </p:nvCxnSpPr>
        <p:spPr>
          <a:xfrm>
            <a:off x="7889197" y="4193738"/>
            <a:ext cx="0" cy="1767781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D55AF2A-2D88-E84D-90C1-D5C88A2AD45F}"/>
              </a:ext>
            </a:extLst>
          </p:cNvPr>
          <p:cNvSpPr/>
          <p:nvPr/>
        </p:nvSpPr>
        <p:spPr>
          <a:xfrm>
            <a:off x="9920591" y="4461777"/>
            <a:ext cx="16123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3.92.13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3.92.14</a:t>
            </a:r>
          </a:p>
        </p:txBody>
      </p:sp>
    </p:spTree>
    <p:extLst>
      <p:ext uri="{BB962C8B-B14F-4D97-AF65-F5344CB8AC3E}">
        <p14:creationId xmlns:p14="http://schemas.microsoft.com/office/powerpoint/2010/main" val="287626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pL7zhESE6oXRC252iL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31</TotalTime>
  <Words>1924</Words>
  <Application>Microsoft Office PowerPoint</Application>
  <PresentationFormat>Широкоэкранный</PresentationFormat>
  <Paragraphs>291</Paragraphs>
  <Slides>29</Slides>
  <Notes>4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8" baseType="lpstr">
      <vt:lpstr>Segoe UI</vt:lpstr>
      <vt:lpstr>Wingdings</vt:lpstr>
      <vt:lpstr>Segoe UI Semibold</vt:lpstr>
      <vt:lpstr>Calibri</vt:lpstr>
      <vt:lpstr>Arial</vt:lpstr>
      <vt:lpstr>Calibri Light</vt:lpstr>
      <vt:lpstr>PT Sans Caption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ркировка и прослеживаемость: обзор проекта    Ноябрь 2018</dc:title>
  <dc:creator>Юсупов Реваз</dc:creator>
  <cp:lastModifiedBy>Алексей Конов</cp:lastModifiedBy>
  <cp:revision>192</cp:revision>
  <cp:lastPrinted>2019-04-05T14:46:21Z</cp:lastPrinted>
  <dcterms:created xsi:type="dcterms:W3CDTF">2018-11-14T17:09:52Z</dcterms:created>
  <dcterms:modified xsi:type="dcterms:W3CDTF">2020-08-27T12:01:14Z</dcterms:modified>
</cp:coreProperties>
</file>